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3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4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5.xml" ContentType="application/vnd.openxmlformats-officedocument.theme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theme/theme6.xml" ContentType="application/vnd.openxmlformats-officedocument.theme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8" r:id="rId5"/>
    <p:sldMasterId id="2147483748" r:id="rId6"/>
    <p:sldMasterId id="2147483811" r:id="rId7"/>
    <p:sldMasterId id="2147483874" r:id="rId8"/>
    <p:sldMasterId id="2147483988" r:id="rId9"/>
    <p:sldMasterId id="2147484091" r:id="rId10"/>
  </p:sldMasterIdLst>
  <p:notesMasterIdLst>
    <p:notesMasterId r:id="rId38"/>
  </p:notesMasterIdLst>
  <p:sldIdLst>
    <p:sldId id="8413" r:id="rId11"/>
    <p:sldId id="8415" r:id="rId12"/>
    <p:sldId id="8371" r:id="rId13"/>
    <p:sldId id="8414" r:id="rId14"/>
    <p:sldId id="8444" r:id="rId15"/>
    <p:sldId id="8417" r:id="rId16"/>
    <p:sldId id="8419" r:id="rId17"/>
    <p:sldId id="8445" r:id="rId18"/>
    <p:sldId id="8418" r:id="rId19"/>
    <p:sldId id="8446" r:id="rId20"/>
    <p:sldId id="8438" r:id="rId21"/>
    <p:sldId id="8447" r:id="rId22"/>
    <p:sldId id="8423" r:id="rId23"/>
    <p:sldId id="8424" r:id="rId24"/>
    <p:sldId id="8448" r:id="rId25"/>
    <p:sldId id="8449" r:id="rId26"/>
    <p:sldId id="8426" r:id="rId27"/>
    <p:sldId id="8427" r:id="rId28"/>
    <p:sldId id="8428" r:id="rId29"/>
    <p:sldId id="8429" r:id="rId30"/>
    <p:sldId id="8430" r:id="rId31"/>
    <p:sldId id="8431" r:id="rId32"/>
    <p:sldId id="8432" r:id="rId33"/>
    <p:sldId id="8433" r:id="rId34"/>
    <p:sldId id="8434" r:id="rId35"/>
    <p:sldId id="8435" r:id="rId36"/>
    <p:sldId id="8436" r:id="rId37"/>
  </p:sldIdLst>
  <p:sldSz cx="12192000" cy="6858000"/>
  <p:notesSz cx="6858000" cy="9144000"/>
  <p:defaultTextStyle>
    <a:defPPr>
      <a:defRPr lang="fr-FR"/>
    </a:defPPr>
    <a:lvl1pPr marL="0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07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18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328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437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550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654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867" algn="l" defTabSz="91421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 &amp; Sommaire" id="{DEC15B00-BFEA-4A99-8E99-07BB9ACC140F}">
          <p14:sldIdLst>
            <p14:sldId id="8413"/>
            <p14:sldId id="8415"/>
            <p14:sldId id="8371"/>
          </p14:sldIdLst>
        </p14:section>
        <p14:section name="Trajectoire projet" id="{052C8965-684C-430A-AFD9-54842F3C28C5}">
          <p14:sldIdLst>
            <p14:sldId id="8414"/>
            <p14:sldId id="8444"/>
          </p14:sldIdLst>
        </p14:section>
        <p14:section name="MEP mars 2023" id="{0CC5E160-4111-4F3D-86F5-4850929193DC}">
          <p14:sldIdLst>
            <p14:sldId id="8417"/>
            <p14:sldId id="8419"/>
            <p14:sldId id="8445"/>
            <p14:sldId id="8418"/>
            <p14:sldId id="8446"/>
          </p14:sldIdLst>
        </p14:section>
        <p14:section name="Actualités Vie - Publications" id="{CB4203DA-8899-4989-A5D0-3BF5F3F5C1D3}">
          <p14:sldIdLst>
            <p14:sldId id="8438"/>
            <p14:sldId id="8447"/>
          </p14:sldIdLst>
        </p14:section>
        <p14:section name="Suivi des résultats" id="{7FDE5177-79E4-4177-BE7D-0503C6D1C556}">
          <p14:sldIdLst>
            <p14:sldId id="8423"/>
            <p14:sldId id="8424"/>
            <p14:sldId id="8448"/>
            <p14:sldId id="8449"/>
          </p14:sldIdLst>
        </p14:section>
        <p14:section name="Les vidéos &amp; information" id="{02CFFD1E-28FC-4F4D-97E2-8B37B669225D}">
          <p14:sldIdLst>
            <p14:sldId id="8426"/>
            <p14:sldId id="8427"/>
            <p14:sldId id="8428"/>
          </p14:sldIdLst>
        </p14:section>
        <p14:section name="ANNEXES" id="{5FB41F4C-79D2-4932-80B6-6B978C440B66}">
          <p14:sldIdLst>
            <p14:sldId id="8429"/>
            <p14:sldId id="8430"/>
            <p14:sldId id="8431"/>
            <p14:sldId id="8432"/>
          </p14:sldIdLst>
        </p14:section>
        <p14:section name="Rappel des fonctionnalités mises en production" id="{828CCB20-2FB1-4D30-AA25-49B9A78A7132}">
          <p14:sldIdLst>
            <p14:sldId id="8433"/>
            <p14:sldId id="8434"/>
            <p14:sldId id="8435"/>
            <p14:sldId id="843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égane CHOPIN" initials="MC" lastIdx="23" clrIdx="0"/>
  <p:cmAuthor id="2" name="LEQUERRE-BERNASCONI Marie-Sophie (EXT Julhiet SterWen)" initials="LBMS(JS" lastIdx="4" clrIdx="1"/>
  <p:cmAuthor id="3" name="SE02653" initials="MM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A0C4"/>
    <a:srgbClr val="F7F48D"/>
    <a:srgbClr val="FFFFFF"/>
    <a:srgbClr val="D7E1F0"/>
    <a:srgbClr val="CAD1DE"/>
    <a:srgbClr val="DDFFEC"/>
    <a:srgbClr val="F6F8FC"/>
    <a:srgbClr val="A7BDB0"/>
    <a:srgbClr val="4D4D4D"/>
    <a:srgbClr val="C3C6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88513" autoAdjust="0"/>
  </p:normalViewPr>
  <p:slideViewPr>
    <p:cSldViewPr snapToGrid="0">
      <p:cViewPr varScale="1">
        <p:scale>
          <a:sx n="87" d="100"/>
          <a:sy n="87" d="100"/>
        </p:scale>
        <p:origin x="-254" y="-86"/>
      </p:cViewPr>
      <p:guideLst>
        <p:guide orient="horz" pos="213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égane CHOPIN" userId="1ee66c8c-63b2-4585-8cc8-cebafa6c8b0d" providerId="ADAL" clId="{9B497311-1B9D-4B63-91B2-687659602905}"/>
    <pc:docChg chg="custSel modSld">
      <pc:chgData name="Mégane CHOPIN" userId="1ee66c8c-63b2-4585-8cc8-cebafa6c8b0d" providerId="ADAL" clId="{9B497311-1B9D-4B63-91B2-687659602905}" dt="2021-05-27T06:22:38.268" v="91" actId="14100"/>
      <pc:docMkLst>
        <pc:docMk/>
      </pc:docMkLst>
      <pc:sldChg chg="addSp delSp modSp mod">
        <pc:chgData name="Mégane CHOPIN" userId="1ee66c8c-63b2-4585-8cc8-cebafa6c8b0d" providerId="ADAL" clId="{9B497311-1B9D-4B63-91B2-687659602905}" dt="2021-05-27T06:22:38.268" v="91" actId="14100"/>
        <pc:sldMkLst>
          <pc:docMk/>
          <pc:sldMk cId="1616477696" sldId="5935"/>
        </pc:sldMkLst>
        <pc:spChg chg="del">
          <ac:chgData name="Mégane CHOPIN" userId="1ee66c8c-63b2-4585-8cc8-cebafa6c8b0d" providerId="ADAL" clId="{9B497311-1B9D-4B63-91B2-687659602905}" dt="2021-05-27T06:16:51.235" v="2" actId="478"/>
          <ac:spMkLst>
            <pc:docMk/>
            <pc:sldMk cId="1616477696" sldId="5935"/>
            <ac:spMk id="3" creationId="{76A0DF4C-2C62-4B4C-BF8C-12C189AAE110}"/>
          </ac:spMkLst>
        </pc:spChg>
        <pc:spChg chg="add mod">
          <ac:chgData name="Mégane CHOPIN" userId="1ee66c8c-63b2-4585-8cc8-cebafa6c8b0d" providerId="ADAL" clId="{9B497311-1B9D-4B63-91B2-687659602905}" dt="2021-05-27T06:22:30.294" v="89" actId="114"/>
          <ac:spMkLst>
            <pc:docMk/>
            <pc:sldMk cId="1616477696" sldId="5935"/>
            <ac:spMk id="11" creationId="{C4079E37-3CBE-40D2-B7BB-6A5A1EF8089D}"/>
          </ac:spMkLst>
        </pc:spChg>
        <pc:spChg chg="add mod">
          <ac:chgData name="Mégane CHOPIN" userId="1ee66c8c-63b2-4585-8cc8-cebafa6c8b0d" providerId="ADAL" clId="{9B497311-1B9D-4B63-91B2-687659602905}" dt="2021-05-27T06:22:38.268" v="91" actId="14100"/>
          <ac:spMkLst>
            <pc:docMk/>
            <pc:sldMk cId="1616477696" sldId="5935"/>
            <ac:spMk id="12" creationId="{9BC85F1F-549E-4DB9-BB06-953F8154EF01}"/>
          </ac:spMkLst>
        </pc:spChg>
        <pc:picChg chg="add mod">
          <ac:chgData name="Mégane CHOPIN" userId="1ee66c8c-63b2-4585-8cc8-cebafa6c8b0d" providerId="ADAL" clId="{9B497311-1B9D-4B63-91B2-687659602905}" dt="2021-05-27T06:21:38.717" v="16" actId="1076"/>
          <ac:picMkLst>
            <pc:docMk/>
            <pc:sldMk cId="1616477696" sldId="5935"/>
            <ac:picMk id="8" creationId="{3A641B08-F57C-48F5-B82D-FC58C4993BE7}"/>
          </ac:picMkLst>
        </pc:picChg>
        <pc:picChg chg="add mod modCrop">
          <ac:chgData name="Mégane CHOPIN" userId="1ee66c8c-63b2-4585-8cc8-cebafa6c8b0d" providerId="ADAL" clId="{9B497311-1B9D-4B63-91B2-687659602905}" dt="2021-05-27T06:22:07.645" v="68" actId="1076"/>
          <ac:picMkLst>
            <pc:docMk/>
            <pc:sldMk cId="1616477696" sldId="5935"/>
            <ac:picMk id="10" creationId="{5F17B037-6055-4579-899A-2BF2308BD043}"/>
          </ac:picMkLst>
        </pc:picChg>
      </pc:sldChg>
    </pc:docChg>
  </pc:docChgLst>
  <pc:docChgLst>
    <pc:chgData name="Mégane CHOPIN" userId="1ee66c8c-63b2-4585-8cc8-cebafa6c8b0d" providerId="ADAL" clId="{5DA5CC2F-B48A-4EAE-8B9B-9D473B294088}"/>
    <pc:docChg chg="custSel delSld modSld modSection">
      <pc:chgData name="Mégane CHOPIN" userId="1ee66c8c-63b2-4585-8cc8-cebafa6c8b0d" providerId="ADAL" clId="{5DA5CC2F-B48A-4EAE-8B9B-9D473B294088}" dt="2021-09-06T15:43:48.942" v="129" actId="20577"/>
      <pc:docMkLst>
        <pc:docMk/>
      </pc:docMkLst>
      <pc:sldChg chg="modSp mod">
        <pc:chgData name="Mégane CHOPIN" userId="1ee66c8c-63b2-4585-8cc8-cebafa6c8b0d" providerId="ADAL" clId="{5DA5CC2F-B48A-4EAE-8B9B-9D473B294088}" dt="2021-09-06T15:13:26.341" v="124" actId="20577"/>
        <pc:sldMkLst>
          <pc:docMk/>
          <pc:sldMk cId="1940572167" sldId="8285"/>
        </pc:sldMkLst>
        <pc:spChg chg="mod">
          <ac:chgData name="Mégane CHOPIN" userId="1ee66c8c-63b2-4585-8cc8-cebafa6c8b0d" providerId="ADAL" clId="{5DA5CC2F-B48A-4EAE-8B9B-9D473B294088}" dt="2021-09-06T15:13:26.341" v="124" actId="20577"/>
          <ac:spMkLst>
            <pc:docMk/>
            <pc:sldMk cId="1940572167" sldId="8285"/>
            <ac:spMk id="38" creationId="{EB4CAF33-0BB8-4A02-9D20-E486BA39E160}"/>
          </ac:spMkLst>
        </pc:spChg>
        <pc:spChg chg="mod">
          <ac:chgData name="Mégane CHOPIN" userId="1ee66c8c-63b2-4585-8cc8-cebafa6c8b0d" providerId="ADAL" clId="{5DA5CC2F-B48A-4EAE-8B9B-9D473B294088}" dt="2021-09-06T14:56:43.247" v="123" actId="20577"/>
          <ac:spMkLst>
            <pc:docMk/>
            <pc:sldMk cId="1940572167" sldId="8285"/>
            <ac:spMk id="39" creationId="{B92894DB-72F0-4E10-A30B-46E9B5FBA04D}"/>
          </ac:spMkLst>
        </pc:spChg>
      </pc:sldChg>
      <pc:sldChg chg="del">
        <pc:chgData name="Mégane CHOPIN" userId="1ee66c8c-63b2-4585-8cc8-cebafa6c8b0d" providerId="ADAL" clId="{5DA5CC2F-B48A-4EAE-8B9B-9D473B294088}" dt="2021-09-06T14:44:31.296" v="0" actId="2696"/>
        <pc:sldMkLst>
          <pc:docMk/>
          <pc:sldMk cId="3260338696" sldId="8287"/>
        </pc:sldMkLst>
      </pc:sldChg>
      <pc:sldChg chg="modSp mod">
        <pc:chgData name="Mégane CHOPIN" userId="1ee66c8c-63b2-4585-8cc8-cebafa6c8b0d" providerId="ADAL" clId="{5DA5CC2F-B48A-4EAE-8B9B-9D473B294088}" dt="2021-09-06T15:43:48.942" v="129" actId="20577"/>
        <pc:sldMkLst>
          <pc:docMk/>
          <pc:sldMk cId="3101221279" sldId="8294"/>
        </pc:sldMkLst>
        <pc:spChg chg="mod">
          <ac:chgData name="Mégane CHOPIN" userId="1ee66c8c-63b2-4585-8cc8-cebafa6c8b0d" providerId="ADAL" clId="{5DA5CC2F-B48A-4EAE-8B9B-9D473B294088}" dt="2021-09-06T15:43:48.942" v="129" actId="20577"/>
          <ac:spMkLst>
            <pc:docMk/>
            <pc:sldMk cId="3101221279" sldId="8294"/>
            <ac:spMk id="2" creationId="{4ECB27D5-8784-4087-9EE3-ED78474B4F05}"/>
          </ac:spMkLst>
        </pc:spChg>
      </pc:sldChg>
      <pc:sldChg chg="modSp mod">
        <pc:chgData name="Mégane CHOPIN" userId="1ee66c8c-63b2-4585-8cc8-cebafa6c8b0d" providerId="ADAL" clId="{5DA5CC2F-B48A-4EAE-8B9B-9D473B294088}" dt="2021-09-06T14:55:12.088" v="117" actId="113"/>
        <pc:sldMkLst>
          <pc:docMk/>
          <pc:sldMk cId="340274032" sldId="8299"/>
        </pc:sldMkLst>
        <pc:graphicFrameChg chg="modGraphic">
          <ac:chgData name="Mégane CHOPIN" userId="1ee66c8c-63b2-4585-8cc8-cebafa6c8b0d" providerId="ADAL" clId="{5DA5CC2F-B48A-4EAE-8B9B-9D473B294088}" dt="2021-09-06T14:55:12.088" v="117" actId="113"/>
          <ac:graphicFrameMkLst>
            <pc:docMk/>
            <pc:sldMk cId="340274032" sldId="8299"/>
            <ac:graphicFrameMk id="13" creationId="{3A4307F8-31A8-49A2-B02A-7CAD8A429B9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139693448913836"/>
          <c:y val="3.1747092498501474E-2"/>
          <c:w val="0.82002540113099376"/>
          <c:h val="0.5046390036522807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Feuil1!$C$1</c:f>
              <c:strCache>
                <c:ptCount val="1"/>
                <c:pt idx="0">
                  <c:v>2022 actes</c:v>
                </c:pt>
              </c:strCache>
            </c:strRef>
          </c:tx>
          <c:spPr>
            <a:solidFill>
              <a:srgbClr val="F79646">
                <a:lumMod val="40000"/>
                <a:lumOff val="60000"/>
              </a:srgbClr>
            </a:solidFill>
            <a:ln>
              <a:noFill/>
            </a:ln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C$2:$C$13</c:f>
              <c:numCache>
                <c:formatCode>General</c:formatCode>
                <c:ptCount val="12"/>
                <c:pt idx="0">
                  <c:v>47</c:v>
                </c:pt>
                <c:pt idx="1">
                  <c:v>43</c:v>
                </c:pt>
                <c:pt idx="2">
                  <c:v>45</c:v>
                </c:pt>
                <c:pt idx="3">
                  <c:v>42</c:v>
                </c:pt>
                <c:pt idx="4">
                  <c:v>44</c:v>
                </c:pt>
                <c:pt idx="5">
                  <c:v>60</c:v>
                </c:pt>
                <c:pt idx="6">
                  <c:v>48</c:v>
                </c:pt>
                <c:pt idx="7">
                  <c:v>55</c:v>
                </c:pt>
                <c:pt idx="8">
                  <c:v>61</c:v>
                </c:pt>
                <c:pt idx="9">
                  <c:v>71</c:v>
                </c:pt>
                <c:pt idx="10">
                  <c:v>100</c:v>
                </c:pt>
                <c:pt idx="11">
                  <c:v>1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D9-4A44-9664-A6BF603871AE}"/>
            </c:ext>
          </c:extLst>
        </c:ser>
        <c:ser>
          <c:idx val="2"/>
          <c:order val="1"/>
          <c:tx>
            <c:strRef>
              <c:f>Feuil1!$D$1</c:f>
              <c:strCache>
                <c:ptCount val="1"/>
                <c:pt idx="0">
                  <c:v>2023 actes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D$2:$D$13</c:f>
              <c:numCache>
                <c:formatCode>General</c:formatCode>
                <c:ptCount val="12"/>
                <c:pt idx="0">
                  <c:v>98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DD9-4A44-9664-A6BF60387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8408704"/>
        <c:axId val="268410880"/>
      </c:barChart>
      <c:lineChart>
        <c:grouping val="standard"/>
        <c:varyColors val="0"/>
        <c:ser>
          <c:idx val="4"/>
          <c:order val="2"/>
          <c:tx>
            <c:strRef>
              <c:f>Feuil1!$F$1</c:f>
              <c:strCache>
                <c:ptCount val="1"/>
                <c:pt idx="0">
                  <c:v>2022 Montant</c:v>
                </c:pt>
              </c:strCache>
            </c:strRef>
          </c:tx>
          <c:spPr>
            <a:ln w="25400" cap="flat" cmpd="sng" algn="ctr">
              <a:solidFill>
                <a:srgbClr val="F79646"/>
              </a:solidFill>
              <a:prstDash val="solid"/>
            </a:ln>
            <a:effectLst/>
          </c:spPr>
          <c:marker>
            <c:symbol val="star"/>
            <c:size val="4"/>
            <c:spPr>
              <a:solidFill>
                <a:srgbClr val="F79646"/>
              </a:solidFill>
              <a:ln w="9525" cap="flat" cmpd="sng" algn="ctr">
                <a:solidFill>
                  <a:srgbClr val="F79646"/>
                </a:solidFill>
                <a:prstDash val="solid"/>
              </a:ln>
              <a:effectLst/>
            </c:spPr>
          </c:marker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F$2:$F$13</c:f>
              <c:numCache>
                <c:formatCode>0</c:formatCode>
                <c:ptCount val="12"/>
                <c:pt idx="0">
                  <c:v>133</c:v>
                </c:pt>
                <c:pt idx="1">
                  <c:v>134</c:v>
                </c:pt>
                <c:pt idx="2">
                  <c:v>145</c:v>
                </c:pt>
                <c:pt idx="3">
                  <c:v>114</c:v>
                </c:pt>
                <c:pt idx="4">
                  <c:v>150</c:v>
                </c:pt>
                <c:pt idx="5">
                  <c:v>165</c:v>
                </c:pt>
                <c:pt idx="6">
                  <c:v>227</c:v>
                </c:pt>
                <c:pt idx="7">
                  <c:v>331</c:v>
                </c:pt>
                <c:pt idx="8">
                  <c:v>288</c:v>
                </c:pt>
                <c:pt idx="9">
                  <c:v>367</c:v>
                </c:pt>
                <c:pt idx="10">
                  <c:v>563</c:v>
                </c:pt>
                <c:pt idx="11">
                  <c:v>600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Feuil1!$G$1</c:f>
              <c:strCache>
                <c:ptCount val="1"/>
                <c:pt idx="0">
                  <c:v>2023 montant</c:v>
                </c:pt>
              </c:strCache>
            </c:strRef>
          </c:tx>
          <c:spPr>
            <a:ln w="25400" cap="flat" cmpd="sng" algn="ctr">
              <a:solidFill>
                <a:srgbClr val="4F81BD"/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rgbClr val="4BACC6">
                  <a:lumMod val="75000"/>
                </a:srgbClr>
              </a:solidFill>
              <a:ln w="25400" cap="flat" cmpd="sng" algn="ctr">
                <a:solidFill>
                  <a:srgbClr val="4F81BD"/>
                </a:solidFill>
                <a:prstDash val="solid"/>
              </a:ln>
              <a:effectLst/>
            </c:spPr>
          </c:marker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G$2:$G$13</c:f>
              <c:numCache>
                <c:formatCode>General</c:formatCode>
                <c:ptCount val="12"/>
                <c:pt idx="0" formatCode="0">
                  <c:v>420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8419072"/>
        <c:axId val="268412800"/>
      </c:lineChart>
      <c:catAx>
        <c:axId val="268408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68410880"/>
        <c:crosses val="autoZero"/>
        <c:auto val="1"/>
        <c:lblAlgn val="ctr"/>
        <c:lblOffset val="100"/>
        <c:noMultiLvlLbl val="0"/>
      </c:catAx>
      <c:valAx>
        <c:axId val="268410880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Nb</a:t>
                </a:r>
                <a:r>
                  <a:rPr lang="fr-FR" baseline="0" dirty="0"/>
                  <a:t> d’actes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7.5573557288358711E-2"/>
              <c:y val="0.16672124532913857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noFill/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68408704"/>
        <c:crosses val="autoZero"/>
        <c:crossBetween val="between"/>
        <c:majorUnit val="50"/>
      </c:valAx>
      <c:valAx>
        <c:axId val="26841280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Montant</a:t>
                </a:r>
                <a:r>
                  <a:rPr lang="fr-FR" baseline="0" dirty="0"/>
                  <a:t> en K</a:t>
                </a:r>
                <a:r>
                  <a:rPr lang="fr-FR" sz="1000" b="1" i="0" u="none" strike="noStrike" baseline="0" dirty="0">
                    <a:effectLst/>
                  </a:rPr>
                  <a:t>€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0.97705802725174828"/>
              <c:y val="0.10767484229343506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268419072"/>
        <c:crosses val="max"/>
        <c:crossBetween val="between"/>
      </c:valAx>
      <c:catAx>
        <c:axId val="2684190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841280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</c:spPr>
      </c:dTable>
      <c:spPr>
        <a:noFill/>
        <a:ln>
          <a:noFill/>
        </a:ln>
        <a:effectLst/>
      </c:spPr>
    </c:plotArea>
    <c:plotVisOnly val="1"/>
    <c:dispBlanksAs val="zero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107572235711448"/>
          <c:y val="6.2411403282652177E-2"/>
          <c:w val="0.81266055714292318"/>
          <c:h val="0.4009278167669105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Feuil1!$C$1</c:f>
              <c:strCache>
                <c:ptCount val="1"/>
                <c:pt idx="0">
                  <c:v>2022 actes</c:v>
                </c:pt>
              </c:strCache>
            </c:strRef>
          </c:tx>
          <c:spPr>
            <a:solidFill>
              <a:srgbClr val="F79646">
                <a:lumMod val="40000"/>
                <a:lumOff val="60000"/>
              </a:srgbClr>
            </a:solidFill>
            <a:ln>
              <a:noFill/>
            </a:ln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C$2:$C$13</c:f>
              <c:numCache>
                <c:formatCode>General</c:formatCode>
                <c:ptCount val="12"/>
                <c:pt idx="0">
                  <c:v>13</c:v>
                </c:pt>
                <c:pt idx="1">
                  <c:v>8</c:v>
                </c:pt>
                <c:pt idx="2">
                  <c:v>5</c:v>
                </c:pt>
                <c:pt idx="3">
                  <c:v>6</c:v>
                </c:pt>
                <c:pt idx="4">
                  <c:v>6</c:v>
                </c:pt>
                <c:pt idx="5">
                  <c:v>4</c:v>
                </c:pt>
                <c:pt idx="6">
                  <c:v>2</c:v>
                </c:pt>
                <c:pt idx="7">
                  <c:v>9</c:v>
                </c:pt>
                <c:pt idx="8">
                  <c:v>7</c:v>
                </c:pt>
                <c:pt idx="9">
                  <c:v>5</c:v>
                </c:pt>
                <c:pt idx="10">
                  <c:v>5</c:v>
                </c:pt>
                <c:pt idx="11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D9-4A44-9664-A6BF603871AE}"/>
            </c:ext>
          </c:extLst>
        </c:ser>
        <c:ser>
          <c:idx val="2"/>
          <c:order val="1"/>
          <c:tx>
            <c:strRef>
              <c:f>Feuil1!$D$1</c:f>
              <c:strCache>
                <c:ptCount val="1"/>
                <c:pt idx="0">
                  <c:v>2023 actes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  <a:ln>
              <a:noFill/>
            </a:ln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D$2:$D$13</c:f>
              <c:numCache>
                <c:formatCode>General</c:formatCode>
                <c:ptCount val="12"/>
                <c:pt idx="0">
                  <c:v>4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DD9-4A44-9664-A6BF60387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8733824"/>
        <c:axId val="288739712"/>
      </c:barChart>
      <c:lineChart>
        <c:grouping val="standard"/>
        <c:varyColors val="0"/>
        <c:ser>
          <c:idx val="4"/>
          <c:order val="2"/>
          <c:tx>
            <c:strRef>
              <c:f>Feuil1!$F$1</c:f>
              <c:strCache>
                <c:ptCount val="1"/>
                <c:pt idx="0">
                  <c:v>2022 montant</c:v>
                </c:pt>
              </c:strCache>
            </c:strRef>
          </c:tx>
          <c:spPr>
            <a:ln w="25400" cap="flat" cmpd="sng" algn="ctr">
              <a:solidFill>
                <a:srgbClr val="F79646"/>
              </a:solidFill>
              <a:prstDash val="solid"/>
            </a:ln>
            <a:effectLst/>
          </c:spPr>
          <c:marker>
            <c:symbol val="star"/>
            <c:size val="4"/>
            <c:spPr>
              <a:solidFill>
                <a:srgbClr val="F79646"/>
              </a:solidFill>
              <a:ln w="9525" cap="flat" cmpd="sng" algn="ctr">
                <a:solidFill>
                  <a:srgbClr val="F79646"/>
                </a:solidFill>
                <a:prstDash val="solid"/>
              </a:ln>
              <a:effectLst/>
            </c:spPr>
          </c:marker>
          <c:dPt>
            <c:idx val="0"/>
            <c:marker>
              <c:spPr>
                <a:solidFill>
                  <a:srgbClr val="F79646"/>
                </a:solidFill>
                <a:ln w="9525" cap="rnd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"/>
            <c:marker>
              <c:spPr>
                <a:solidFill>
                  <a:srgbClr val="F79646"/>
                </a:solidFill>
                <a:ln w="9525" cap="rnd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F$2:$F$13</c:f>
              <c:numCache>
                <c:formatCode>General</c:formatCode>
                <c:ptCount val="12"/>
                <c:pt idx="0">
                  <c:v>25</c:v>
                </c:pt>
                <c:pt idx="1">
                  <c:v>9</c:v>
                </c:pt>
                <c:pt idx="2">
                  <c:v>12</c:v>
                </c:pt>
                <c:pt idx="3">
                  <c:v>19</c:v>
                </c:pt>
                <c:pt idx="4">
                  <c:v>18</c:v>
                </c:pt>
                <c:pt idx="5">
                  <c:v>16</c:v>
                </c:pt>
                <c:pt idx="6">
                  <c:v>1</c:v>
                </c:pt>
                <c:pt idx="7">
                  <c:v>32</c:v>
                </c:pt>
                <c:pt idx="8">
                  <c:v>17</c:v>
                </c:pt>
                <c:pt idx="9">
                  <c:v>4</c:v>
                </c:pt>
                <c:pt idx="10">
                  <c:v>11</c:v>
                </c:pt>
                <c:pt idx="11">
                  <c:v>13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Feuil1!$G$1</c:f>
              <c:strCache>
                <c:ptCount val="1"/>
                <c:pt idx="0">
                  <c:v>2023 montant </c:v>
                </c:pt>
              </c:strCache>
            </c:strRef>
          </c:tx>
          <c:spPr>
            <a:ln w="25400" cap="flat" cmpd="sng" algn="ctr">
              <a:solidFill>
                <a:srgbClr val="4F81BD"/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rgbClr val="4BACC6">
                  <a:lumMod val="75000"/>
                </a:srgbClr>
              </a:solidFill>
              <a:ln w="25400" cap="flat" cmpd="sng" algn="ctr">
                <a:solidFill>
                  <a:srgbClr val="4F81BD"/>
                </a:solidFill>
                <a:prstDash val="solid"/>
              </a:ln>
              <a:effectLst/>
            </c:spPr>
          </c:marker>
          <c:dPt>
            <c:idx val="0"/>
            <c:marker>
              <c:spPr>
                <a:solidFill>
                  <a:srgbClr val="4BACC6">
                    <a:lumMod val="75000"/>
                  </a:srgbClr>
                </a:solidFill>
                <a:ln w="9525" cap="rnd" cmpd="sng" algn="ctr">
                  <a:solidFill>
                    <a:srgbClr val="4F81BD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G$2:$G$13</c:f>
              <c:numCache>
                <c:formatCode>General</c:formatCode>
                <c:ptCount val="12"/>
                <c:pt idx="0">
                  <c:v>8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8743808"/>
        <c:axId val="288741632"/>
      </c:lineChart>
      <c:catAx>
        <c:axId val="288733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88739712"/>
        <c:crosses val="autoZero"/>
        <c:auto val="1"/>
        <c:lblAlgn val="ctr"/>
        <c:lblOffset val="100"/>
        <c:noMultiLvlLbl val="0"/>
      </c:catAx>
      <c:valAx>
        <c:axId val="288739712"/>
        <c:scaling>
          <c:orientation val="minMax"/>
          <c:max val="15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Nb</a:t>
                </a:r>
                <a:r>
                  <a:rPr lang="fr-FR" baseline="0" dirty="0"/>
                  <a:t> d’actes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8.1701773599355668E-2"/>
              <c:y val="0.12169776887051444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noFill/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88733824"/>
        <c:crosses val="autoZero"/>
        <c:crossBetween val="between"/>
      </c:valAx>
      <c:valAx>
        <c:axId val="288741632"/>
        <c:scaling>
          <c:orientation val="minMax"/>
          <c:max val="2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Montant</a:t>
                </a:r>
                <a:r>
                  <a:rPr lang="fr-FR" baseline="0" dirty="0"/>
                  <a:t> en K</a:t>
                </a:r>
                <a:r>
                  <a:rPr lang="fr-FR" sz="1000" b="1" i="0" u="none" strike="noStrike" baseline="0" dirty="0">
                    <a:effectLst/>
                  </a:rPr>
                  <a:t>€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0.9731892573163381"/>
              <c:y val="6.9484844572374665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288743808"/>
        <c:crosses val="max"/>
        <c:crossBetween val="between"/>
      </c:valAx>
      <c:catAx>
        <c:axId val="288743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8741632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</c:dTable>
      <c:spPr>
        <a:noFill/>
        <a:ln>
          <a:noFill/>
        </a:ln>
        <a:effectLst/>
      </c:spPr>
    </c:plotArea>
    <c:plotVisOnly val="1"/>
    <c:dispBlanksAs val="zero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32220314565942"/>
          <c:y val="0.15084299743839277"/>
          <c:w val="0.80025072523829266"/>
          <c:h val="0.4353148907158477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Feuil1!$C$1</c:f>
              <c:strCache>
                <c:ptCount val="1"/>
                <c:pt idx="0">
                  <c:v>2022 actes</c:v>
                </c:pt>
              </c:strCache>
            </c:strRef>
          </c:tx>
          <c:spPr>
            <a:solidFill>
              <a:srgbClr val="F79646">
                <a:lumMod val="40000"/>
                <a:lumOff val="60000"/>
              </a:srgbClr>
            </a:solidFill>
            <a:ln>
              <a:noFill/>
            </a:ln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C$2:$C$13</c:f>
              <c:numCache>
                <c:formatCode>General</c:formatCode>
                <c:ptCount val="12"/>
                <c:pt idx="0">
                  <c:v>88</c:v>
                </c:pt>
                <c:pt idx="1">
                  <c:v>109</c:v>
                </c:pt>
                <c:pt idx="2">
                  <c:v>107</c:v>
                </c:pt>
                <c:pt idx="3">
                  <c:v>160</c:v>
                </c:pt>
                <c:pt idx="4">
                  <c:v>229</c:v>
                </c:pt>
                <c:pt idx="5">
                  <c:v>262</c:v>
                </c:pt>
                <c:pt idx="6">
                  <c:v>311</c:v>
                </c:pt>
                <c:pt idx="7">
                  <c:v>326</c:v>
                </c:pt>
                <c:pt idx="8">
                  <c:v>397</c:v>
                </c:pt>
                <c:pt idx="9">
                  <c:v>393</c:v>
                </c:pt>
                <c:pt idx="10">
                  <c:v>408</c:v>
                </c:pt>
                <c:pt idx="11">
                  <c:v>3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56B-40E0-9758-58CC645481B0}"/>
            </c:ext>
          </c:extLst>
        </c:ser>
        <c:ser>
          <c:idx val="2"/>
          <c:order val="1"/>
          <c:tx>
            <c:strRef>
              <c:f>Feuil1!$D$1</c:f>
              <c:strCache>
                <c:ptCount val="1"/>
                <c:pt idx="0">
                  <c:v>2023 actes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  <a:ln>
              <a:noFill/>
            </a:ln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D$2:$D$13</c:f>
              <c:numCache>
                <c:formatCode>General</c:formatCode>
                <c:ptCount val="12"/>
                <c:pt idx="0">
                  <c:v>475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56B-40E0-9758-58CC64548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0151040"/>
        <c:axId val="290156928"/>
      </c:barChart>
      <c:lineChart>
        <c:grouping val="standard"/>
        <c:varyColors val="0"/>
        <c:ser>
          <c:idx val="4"/>
          <c:order val="2"/>
          <c:tx>
            <c:strRef>
              <c:f>Feuil1!$F$1</c:f>
              <c:strCache>
                <c:ptCount val="1"/>
                <c:pt idx="0">
                  <c:v>2022 montant</c:v>
                </c:pt>
              </c:strCache>
            </c:strRef>
          </c:tx>
          <c:spPr>
            <a:ln w="25400" cap="flat" cmpd="sng" algn="ctr">
              <a:solidFill>
                <a:srgbClr val="F79646"/>
              </a:solidFill>
              <a:prstDash val="solid"/>
            </a:ln>
            <a:effectLst/>
          </c:spPr>
          <c:marker>
            <c:symbol val="star"/>
            <c:size val="4"/>
            <c:spPr>
              <a:solidFill>
                <a:srgbClr val="F79646"/>
              </a:solidFill>
              <a:ln w="25400" cap="flat" cmpd="sng" algn="ctr">
                <a:solidFill>
                  <a:srgbClr val="F79646"/>
                </a:solidFill>
                <a:prstDash val="solid"/>
              </a:ln>
              <a:effectLst/>
            </c:spPr>
          </c:marker>
          <c:dPt>
            <c:idx val="0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2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3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4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5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6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7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8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9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0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1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F$2:$F$13</c:f>
              <c:numCache>
                <c:formatCode>General</c:formatCode>
                <c:ptCount val="12"/>
                <c:pt idx="0">
                  <c:v>542</c:v>
                </c:pt>
                <c:pt idx="1">
                  <c:v>600</c:v>
                </c:pt>
                <c:pt idx="2">
                  <c:v>643</c:v>
                </c:pt>
                <c:pt idx="3">
                  <c:v>733</c:v>
                </c:pt>
                <c:pt idx="4">
                  <c:v>986</c:v>
                </c:pt>
                <c:pt idx="5">
                  <c:v>1090</c:v>
                </c:pt>
                <c:pt idx="6">
                  <c:v>1142</c:v>
                </c:pt>
                <c:pt idx="7">
                  <c:v>1237</c:v>
                </c:pt>
                <c:pt idx="8">
                  <c:v>1701</c:v>
                </c:pt>
                <c:pt idx="9">
                  <c:v>1578</c:v>
                </c:pt>
                <c:pt idx="10">
                  <c:v>1509</c:v>
                </c:pt>
                <c:pt idx="11">
                  <c:v>1416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Feuil1!$G$1</c:f>
              <c:strCache>
                <c:ptCount val="1"/>
                <c:pt idx="0">
                  <c:v>2023 montant</c:v>
                </c:pt>
              </c:strCache>
            </c:strRef>
          </c:tx>
          <c:spPr>
            <a:ln w="25400" cap="flat" cmpd="sng" algn="ctr">
              <a:solidFill>
                <a:srgbClr val="4F81BD"/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rgbClr val="4BACC6">
                  <a:lumMod val="75000"/>
                </a:srgbClr>
              </a:solidFill>
              <a:ln w="25400" cap="flat" cmpd="sng" algn="ctr">
                <a:solidFill>
                  <a:srgbClr val="4F81BD"/>
                </a:solidFill>
                <a:prstDash val="solid"/>
              </a:ln>
              <a:effectLst/>
            </c:spPr>
          </c:marker>
          <c:dPt>
            <c:idx val="0"/>
            <c:marker>
              <c:spPr>
                <a:solidFill>
                  <a:srgbClr val="4BACC6">
                    <a:lumMod val="75000"/>
                  </a:srgbClr>
                </a:solidFill>
                <a:ln w="9525" cap="flat" cmpd="sng" algn="ctr">
                  <a:solidFill>
                    <a:srgbClr val="4F81BD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G$2:$G$13</c:f>
              <c:numCache>
                <c:formatCode>General</c:formatCode>
                <c:ptCount val="12"/>
                <c:pt idx="0">
                  <c:v>2389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0161024"/>
        <c:axId val="290158848"/>
      </c:lineChart>
      <c:catAx>
        <c:axId val="29015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90156928"/>
        <c:crosses val="autoZero"/>
        <c:auto val="1"/>
        <c:lblAlgn val="ctr"/>
        <c:lblOffset val="100"/>
        <c:noMultiLvlLbl val="0"/>
      </c:catAx>
      <c:valAx>
        <c:axId val="29015692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Nb</a:t>
                </a:r>
                <a:r>
                  <a:rPr lang="fr-FR" baseline="0" dirty="0"/>
                  <a:t> d’actes</a:t>
                </a:r>
                <a:endParaRPr lang="fr-FR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noFill/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90151040"/>
        <c:crosses val="autoZero"/>
        <c:crossBetween val="between"/>
        <c:majorUnit val="100"/>
      </c:valAx>
      <c:valAx>
        <c:axId val="290158848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/>
                  <a:t>Montant</a:t>
                </a:r>
                <a:r>
                  <a:rPr lang="fr-FR" baseline="0" dirty="0"/>
                  <a:t> en K</a:t>
                </a:r>
                <a:r>
                  <a:rPr lang="fr-FR" sz="1000" b="1" i="0" u="none" strike="noStrike" baseline="0" dirty="0">
                    <a:effectLst/>
                  </a:rPr>
                  <a:t>€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0.9746452317406219"/>
              <c:y val="0.159200699745297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290161024"/>
        <c:crosses val="max"/>
        <c:crossBetween val="between"/>
      </c:valAx>
      <c:catAx>
        <c:axId val="290161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0158848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</c:dTable>
      <c:spPr>
        <a:noFill/>
        <a:ln>
          <a:noFill/>
        </a:ln>
        <a:effectLst/>
      </c:spPr>
    </c:plotArea>
    <c:plotVisOnly val="1"/>
    <c:dispBlanksAs val="zero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24224504955425"/>
          <c:y val="6.6576463200479191E-2"/>
          <c:w val="0.78082950796917439"/>
          <c:h val="0.58515877485743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22 actes</c:v>
                </c:pt>
              </c:strCache>
            </c:strRef>
          </c:tx>
          <c:spPr>
            <a:solidFill>
              <a:srgbClr val="F79646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B$2:$B$13</c:f>
              <c:numCache>
                <c:formatCode>General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4</c:v>
                </c:pt>
                <c:pt idx="3">
                  <c:v>24</c:v>
                </c:pt>
                <c:pt idx="4">
                  <c:v>29</c:v>
                </c:pt>
                <c:pt idx="5">
                  <c:v>20</c:v>
                </c:pt>
                <c:pt idx="6">
                  <c:v>11</c:v>
                </c:pt>
                <c:pt idx="7">
                  <c:v>15</c:v>
                </c:pt>
                <c:pt idx="8">
                  <c:v>16</c:v>
                </c:pt>
                <c:pt idx="9">
                  <c:v>26</c:v>
                </c:pt>
                <c:pt idx="10">
                  <c:v>38</c:v>
                </c:pt>
                <c:pt idx="11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9BC-4899-AA56-BC4C7077312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23 actes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  <a:ln w="28575" cap="rnd">
              <a:noFill/>
              <a:round/>
            </a:ln>
            <a:effectLst/>
          </c:spPr>
          <c:invertIfNegative val="0"/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C$2:$C$13</c:f>
              <c:numCache>
                <c:formatCode>General</c:formatCode>
                <c:ptCount val="12"/>
                <c:pt idx="0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9BC-4899-AA56-BC4C70773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0679040"/>
        <c:axId val="290689024"/>
      </c:barChart>
      <c:lineChart>
        <c:grouping val="standard"/>
        <c:varyColors val="0"/>
        <c:ser>
          <c:idx val="2"/>
          <c:order val="2"/>
          <c:tx>
            <c:strRef>
              <c:f>Feuil1!$D$1</c:f>
              <c:strCache>
                <c:ptCount val="1"/>
                <c:pt idx="0">
                  <c:v>2022 montant</c:v>
                </c:pt>
              </c:strCache>
            </c:strRef>
          </c:tx>
          <c:spPr>
            <a:ln w="25400" cap="flat" cmpd="sng" algn="ctr">
              <a:solidFill>
                <a:srgbClr val="F79646"/>
              </a:solidFill>
              <a:prstDash val="solid"/>
            </a:ln>
            <a:effectLst/>
          </c:spPr>
          <c:marker>
            <c:symbol val="star"/>
            <c:size val="4"/>
            <c:spPr>
              <a:solidFill>
                <a:srgbClr val="F79646"/>
              </a:solidFill>
              <a:ln w="25400" cap="flat" cmpd="sng" algn="ctr">
                <a:solidFill>
                  <a:srgbClr val="F79646"/>
                </a:solidFill>
                <a:prstDash val="solid"/>
              </a:ln>
              <a:effectLst/>
            </c:spPr>
          </c:marker>
          <c:dPt>
            <c:idx val="2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3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4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5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6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7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8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9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0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dPt>
            <c:idx val="11"/>
            <c:marker>
              <c:spPr>
                <a:solidFill>
                  <a:srgbClr val="F79646"/>
                </a:solidFill>
                <a:ln w="9525" cap="flat" cmpd="sng" algn="ctr">
                  <a:solidFill>
                    <a:srgbClr val="F79646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D$2:$D$13</c:f>
              <c:numCache>
                <c:formatCode>General</c:formatCode>
                <c:ptCount val="12"/>
                <c:pt idx="0">
                  <c:v>#N/A</c:v>
                </c:pt>
                <c:pt idx="1">
                  <c:v>#N/A</c:v>
                </c:pt>
                <c:pt idx="2">
                  <c:v>11</c:v>
                </c:pt>
                <c:pt idx="3">
                  <c:v>120</c:v>
                </c:pt>
                <c:pt idx="4">
                  <c:v>182</c:v>
                </c:pt>
                <c:pt idx="5">
                  <c:v>189</c:v>
                </c:pt>
                <c:pt idx="6">
                  <c:v>59</c:v>
                </c:pt>
                <c:pt idx="7">
                  <c:v>178</c:v>
                </c:pt>
                <c:pt idx="8">
                  <c:v>228</c:v>
                </c:pt>
                <c:pt idx="9">
                  <c:v>254</c:v>
                </c:pt>
                <c:pt idx="10">
                  <c:v>327</c:v>
                </c:pt>
                <c:pt idx="11">
                  <c:v>28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2023 montant</c:v>
                </c:pt>
              </c:strCache>
            </c:strRef>
          </c:tx>
          <c:spPr>
            <a:ln w="25400" cap="flat" cmpd="sng" algn="ctr">
              <a:solidFill>
                <a:srgbClr val="4F81BD"/>
              </a:solidFill>
              <a:prstDash val="solid"/>
            </a:ln>
            <a:effectLst/>
          </c:spPr>
          <c:marker>
            <c:symbol val="circle"/>
            <c:size val="4"/>
            <c:spPr>
              <a:solidFill>
                <a:srgbClr val="4BACC6">
                  <a:lumMod val="75000"/>
                </a:srgbClr>
              </a:solidFill>
              <a:ln w="25400" cap="flat" cmpd="sng" algn="ctr">
                <a:solidFill>
                  <a:srgbClr val="4F81BD"/>
                </a:solidFill>
                <a:prstDash val="solid"/>
              </a:ln>
              <a:effectLst/>
            </c:spPr>
          </c:marker>
          <c:dPt>
            <c:idx val="0"/>
            <c:marker>
              <c:spPr>
                <a:solidFill>
                  <a:srgbClr val="4BACC6">
                    <a:lumMod val="75000"/>
                  </a:srgbClr>
                </a:solidFill>
                <a:ln w="9525" cap="flat" cmpd="sng" algn="ctr">
                  <a:solidFill>
                    <a:srgbClr val="4F81BD"/>
                  </a:solidFill>
                  <a:prstDash val="solid"/>
                </a:ln>
                <a:effectLst/>
              </c:spPr>
            </c:marker>
            <c:bubble3D val="0"/>
          </c:dPt>
          <c:cat>
            <c:strRef>
              <c:f>Feuil1!$A$2:$A$13</c:f>
              <c:strCache>
                <c:ptCount val="12"/>
                <c:pt idx="0">
                  <c:v>Janvier</c:v>
                </c:pt>
                <c:pt idx="1">
                  <c:v>Février</c:v>
                </c:pt>
                <c:pt idx="2">
                  <c:v>Mars</c:v>
                </c:pt>
                <c:pt idx="3">
                  <c:v>Avril</c:v>
                </c:pt>
                <c:pt idx="4">
                  <c:v>Mai</c:v>
                </c:pt>
                <c:pt idx="5">
                  <c:v>Juin</c:v>
                </c:pt>
                <c:pt idx="6">
                  <c:v>Juillet</c:v>
                </c:pt>
                <c:pt idx="7">
                  <c:v>Août</c:v>
                </c:pt>
                <c:pt idx="8">
                  <c:v>Septembre</c:v>
                </c:pt>
                <c:pt idx="9">
                  <c:v>Octobre</c:v>
                </c:pt>
                <c:pt idx="10">
                  <c:v>Novembre</c:v>
                </c:pt>
                <c:pt idx="11">
                  <c:v>Décembre</c:v>
                </c:pt>
              </c:strCache>
            </c:strRef>
          </c:cat>
          <c:val>
            <c:numRef>
              <c:f>Feuil1!$E$2:$E$13</c:f>
              <c:numCache>
                <c:formatCode>General</c:formatCode>
                <c:ptCount val="12"/>
                <c:pt idx="0">
                  <c:v>4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0697216"/>
        <c:axId val="290690944"/>
      </c:lineChart>
      <c:catAx>
        <c:axId val="29067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90689024"/>
        <c:crosses val="autoZero"/>
        <c:auto val="1"/>
        <c:lblAlgn val="ctr"/>
        <c:lblOffset val="100"/>
        <c:noMultiLvlLbl val="0"/>
      </c:catAx>
      <c:valAx>
        <c:axId val="290689024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fr-FR" dirty="0" smtClean="0"/>
                  <a:t>Nb</a:t>
                </a:r>
                <a:r>
                  <a:rPr lang="fr-FR" baseline="0" dirty="0" smtClean="0"/>
                  <a:t> d’actes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7.8406453587504185E-2"/>
              <c:y val="0.18000959405884073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90679040"/>
        <c:crosses val="autoZero"/>
        <c:crossBetween val="between"/>
      </c:valAx>
      <c:valAx>
        <c:axId val="290690944"/>
        <c:scaling>
          <c:orientation val="minMax"/>
          <c:max val="1000"/>
        </c:scaling>
        <c:delete val="0"/>
        <c:axPos val="r"/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FR" sz="1000" b="1" i="0" baseline="0" dirty="0" smtClean="0">
                    <a:effectLst/>
                  </a:rPr>
                  <a:t>Montant en K€</a:t>
                </a:r>
                <a:endParaRPr lang="fr-FR" sz="400" dirty="0" smtClean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94880170666412944"/>
              <c:y val="7.3115930483119651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4F81BD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90697216"/>
        <c:crosses val="max"/>
        <c:crossBetween val="between"/>
      </c:valAx>
      <c:catAx>
        <c:axId val="2906972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0690944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</c:dTable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9369A-71B6-446F-89AB-BE6625E4E1B6}" type="datetimeFigureOut">
              <a:rPr lang="fr-FR" smtClean="0"/>
              <a:t>15/03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63445F-D43C-4409-9A32-B61934D93EF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8005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7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18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28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37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50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4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67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1F2F08-D3A6-4E84-BAFA-688043F1E726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0977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1F2F08-D3A6-4E84-BAFA-688043F1E726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097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groupecovea/" TargetMode="External"/><Relationship Id="rId13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hyperlink" Target="https://www.facebook.com/groupecovea" TargetMode="External"/><Relationship Id="rId2" Type="http://schemas.openxmlformats.org/officeDocument/2006/relationships/hyperlink" Target="https://www.covea.eu/fr" TargetMode="External"/><Relationship Id="rId1" Type="http://schemas.openxmlformats.org/officeDocument/2006/relationships/slideMaster" Target="../slideMasters/slideMaster5.xml"/><Relationship Id="rId6" Type="http://schemas.openxmlformats.org/officeDocument/2006/relationships/hyperlink" Target="https://twitter.com/groupecovea" TargetMode="External"/><Relationship Id="rId11" Type="http://schemas.openxmlformats.org/officeDocument/2006/relationships/image" Target="../media/image27.png"/><Relationship Id="rId5" Type="http://schemas.openxmlformats.org/officeDocument/2006/relationships/image" Target="../media/image24.png"/><Relationship Id="rId10" Type="http://schemas.openxmlformats.org/officeDocument/2006/relationships/hyperlink" Target="https://www.instagram.com/groupecovea/" TargetMode="External"/><Relationship Id="rId4" Type="http://schemas.openxmlformats.org/officeDocument/2006/relationships/hyperlink" Target="https://www.youtube.com/channel/UCf22VZ66VMSQJblxhZQ0vhg/videos" TargetMode="External"/><Relationship Id="rId9" Type="http://schemas.openxmlformats.org/officeDocument/2006/relationships/image" Target="../media/image26.png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30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groupecovea/" TargetMode="External"/><Relationship Id="rId13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12" Type="http://schemas.openxmlformats.org/officeDocument/2006/relationships/hyperlink" Target="https://www.facebook.com/groupecovea" TargetMode="External"/><Relationship Id="rId2" Type="http://schemas.openxmlformats.org/officeDocument/2006/relationships/hyperlink" Target="https://www.covea.eu/fr" TargetMode="External"/><Relationship Id="rId1" Type="http://schemas.openxmlformats.org/officeDocument/2006/relationships/slideMaster" Target="../slideMasters/slideMaster6.xml"/><Relationship Id="rId6" Type="http://schemas.openxmlformats.org/officeDocument/2006/relationships/hyperlink" Target="https://twitter.com/groupecovea" TargetMode="External"/><Relationship Id="rId11" Type="http://schemas.openxmlformats.org/officeDocument/2006/relationships/image" Target="../media/image38.png"/><Relationship Id="rId5" Type="http://schemas.openxmlformats.org/officeDocument/2006/relationships/image" Target="../media/image35.png"/><Relationship Id="rId10" Type="http://schemas.openxmlformats.org/officeDocument/2006/relationships/hyperlink" Target="https://www.instagram.com/groupecovea/" TargetMode="External"/><Relationship Id="rId4" Type="http://schemas.openxmlformats.org/officeDocument/2006/relationships/hyperlink" Target="https://www.youtube.com/channel/UCf22VZ66VMSQJblxhZQ0vhg/videos" TargetMode="External"/><Relationship Id="rId9" Type="http://schemas.openxmlformats.org/officeDocument/2006/relationships/image" Target="../media/image37.png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groupecovea/" TargetMode="External"/><Relationship Id="rId13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hyperlink" Target="https://www.facebook.com/groupecovea" TargetMode="External"/><Relationship Id="rId2" Type="http://schemas.openxmlformats.org/officeDocument/2006/relationships/hyperlink" Target="https://www.covea.eu/fr" TargetMode="External"/><Relationship Id="rId1" Type="http://schemas.openxmlformats.org/officeDocument/2006/relationships/slideMaster" Target="../slideMasters/slideMaster7.xml"/><Relationship Id="rId6" Type="http://schemas.openxmlformats.org/officeDocument/2006/relationships/hyperlink" Target="https://twitter.com/groupecovea" TargetMode="External"/><Relationship Id="rId11" Type="http://schemas.openxmlformats.org/officeDocument/2006/relationships/image" Target="../media/image27.png"/><Relationship Id="rId5" Type="http://schemas.openxmlformats.org/officeDocument/2006/relationships/image" Target="../media/image24.png"/><Relationship Id="rId10" Type="http://schemas.openxmlformats.org/officeDocument/2006/relationships/hyperlink" Target="https://www.instagram.com/groupecovea/" TargetMode="External"/><Relationship Id="rId4" Type="http://schemas.openxmlformats.org/officeDocument/2006/relationships/hyperlink" Target="https://www.youtube.com/channel/UCf22VZ66VMSQJblxhZQ0vhg/videos" TargetMode="External"/><Relationship Id="rId9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xmlns="" id="{02EDA228-219D-4612-B633-232954B8C3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40367" y="3661179"/>
            <a:ext cx="7103671" cy="2534140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rgbClr val="8F733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3200"/>
              </a:lnSpc>
              <a:spcBef>
                <a:spcPts val="0"/>
              </a:spcBef>
              <a:buNone/>
              <a:defRPr sz="3200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0" name="Image 19" descr="Une image contenant texte, signe&#10;&#10;Description générée automatiquement">
            <a:extLst>
              <a:ext uri="{FF2B5EF4-FFF2-40B4-BE49-F238E27FC236}">
                <a16:creationId xmlns:a16="http://schemas.microsoft.com/office/drawing/2014/main" xmlns="" id="{4488B5D9-3296-4892-BBA2-9BF4DB181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215" y="1126901"/>
            <a:ext cx="4284000" cy="2054843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E6A3889B-8474-47CB-A2A1-BC4FF668B0E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4ED59E3A-764C-4ACE-9B63-2043F0D9B1F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CF1E9F1F-7D41-40BB-AC0E-3BB42F76212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3076697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SIMPL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74A49C26-296F-4650-B0D8-82FFD3131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4485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xmlns="" id="{5955F877-18D3-B34B-AE0C-28BCB9396B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4184" y="1198588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xmlns="" id="{30E4B824-1661-3E49-BAE9-4D25BABCDF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70055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75E6EFB1-20CF-B04F-BEE5-BF800D917148}"/>
              </a:ext>
            </a:extLst>
          </p:cNvPr>
          <p:cNvCxnSpPr/>
          <p:nvPr userDrawn="1"/>
        </p:nvCxnSpPr>
        <p:spPr>
          <a:xfrm>
            <a:off x="0" y="1836169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EE22C74-C621-4549-B2DD-492F43D724EC}"/>
              </a:ext>
            </a:extLst>
          </p:cNvPr>
          <p:cNvSpPr/>
          <p:nvPr userDrawn="1"/>
        </p:nvSpPr>
        <p:spPr>
          <a:xfrm>
            <a:off x="6684929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293CE259-0B00-9445-B58B-AFCA9E593D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58196" y="1198588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xmlns="" id="{3B1F6662-90F2-0643-92A3-71C0E73904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04067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99BECC6-B3FC-0046-97B1-0B7CE4AF51BE}"/>
              </a:ext>
            </a:extLst>
          </p:cNvPr>
          <p:cNvSpPr/>
          <p:nvPr userDrawn="1"/>
        </p:nvSpPr>
        <p:spPr>
          <a:xfrm>
            <a:off x="10018941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784F9939-2369-D347-977F-56A5FE93CC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31924" y="1198588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xmlns="" id="{B5C9C343-D588-1847-B08D-D344DCBB5E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77799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6C2D858-44C3-4041-856A-38C3BAE34034}"/>
              </a:ext>
            </a:extLst>
          </p:cNvPr>
          <p:cNvSpPr/>
          <p:nvPr userDrawn="1"/>
        </p:nvSpPr>
        <p:spPr>
          <a:xfrm>
            <a:off x="3392673" y="174222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xmlns="" id="{78515F5B-90EF-D341-BE19-4352CF111B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0793" y="2047133"/>
            <a:ext cx="1425016" cy="930011"/>
          </a:xfrm>
          <a:prstGeom prst="rect">
            <a:avLst/>
          </a:prstGeom>
          <a:solidFill>
            <a:schemeClr val="accent4"/>
          </a:solidFill>
        </p:spPr>
        <p:txBody>
          <a:bodyPr anchor="t"/>
          <a:lstStyle>
            <a:lvl1pPr marL="0" indent="0" algn="ctr">
              <a:buNone/>
              <a:defRPr sz="900" b="1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xmlns="" id="{082380A0-C902-BB4D-849B-7496C18AF1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</p:spTree>
    <p:extLst>
      <p:ext uri="{BB962C8B-B14F-4D97-AF65-F5344CB8AC3E}">
        <p14:creationId xmlns:p14="http://schemas.microsoft.com/office/powerpoint/2010/main" val="2911528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1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8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8027824" y="1703929"/>
            <a:ext cx="2674229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9553" y="1941977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E4CD00-F526-C947-AE4B-4AC61F764576}"/>
              </a:ext>
            </a:extLst>
          </p:cNvPr>
          <p:cNvSpPr/>
          <p:nvPr userDrawn="1"/>
        </p:nvSpPr>
        <p:spPr>
          <a:xfrm>
            <a:off x="4997324" y="1706012"/>
            <a:ext cx="2674229" cy="4211135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47FCE1F7-41C7-4949-AEBD-B2E74A563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49053" y="1944065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1966824" y="1693490"/>
            <a:ext cx="2674229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18553" y="1931538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</p:spTree>
    <p:extLst>
      <p:ext uri="{BB962C8B-B14F-4D97-AF65-F5344CB8AC3E}">
        <p14:creationId xmlns:p14="http://schemas.microsoft.com/office/powerpoint/2010/main" val="31113207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977849" y="194061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967499" y="1693988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9215" y="193204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E4CD00-F526-C947-AE4B-4AC61F764576}"/>
              </a:ext>
            </a:extLst>
          </p:cNvPr>
          <p:cNvSpPr/>
          <p:nvPr userDrawn="1"/>
        </p:nvSpPr>
        <p:spPr>
          <a:xfrm>
            <a:off x="4524929" y="1696077"/>
            <a:ext cx="3185407" cy="4211135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47FCE1F7-41C7-4949-AEBD-B2E74A563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76647" y="1934125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1055218" y="1683540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6935" y="192160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FF0D1546-DEE9-4848-950F-93266B2BCF8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809937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33505" y="110745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18216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1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8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133955" y="1693988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11489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682071" y="1693988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9605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92469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59266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9"/>
            <a:ext cx="2628693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65" y="1391492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2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47971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9"/>
            <a:ext cx="2628693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65" y="1391492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2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88817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22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686143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22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868902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70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70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3118984" y="1174317"/>
            <a:ext cx="726509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1440503" y="3225260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2" y="3884170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81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2902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70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70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2" y="3884170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81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00" y="3909219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13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5765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970596" y="6356352"/>
            <a:ext cx="5064369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defPPr>
              <a:defRPr lang="fr-FR"/>
            </a:defPPr>
            <a:lvl1pPr marL="0" algn="ctr" defTabSz="914218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b="1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Titre 8"/>
          <p:cNvSpPr>
            <a:spLocks noGrp="1"/>
          </p:cNvSpPr>
          <p:nvPr>
            <p:ph type="title" hasCustomPrompt="1"/>
          </p:nvPr>
        </p:nvSpPr>
        <p:spPr>
          <a:xfrm>
            <a:off x="2499699" y="2452345"/>
            <a:ext cx="7192617" cy="1325563"/>
          </a:xfrm>
          <a:prstGeom prst="rect">
            <a:avLst/>
          </a:prstGeom>
        </p:spPr>
        <p:txBody>
          <a:bodyPr/>
          <a:lstStyle>
            <a:lvl1pPr algn="ctr">
              <a:defRPr sz="4900" b="1"/>
            </a:lvl1pPr>
          </a:lstStyle>
          <a:p>
            <a:r>
              <a:rPr lang="fr-FR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26710052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70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70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8697237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8204548" y="1174317"/>
            <a:ext cx="726509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6526070" y="3225260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00" y="3909219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13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5327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409152" y="20417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7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398713" y="295822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8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398713" y="386010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8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388277" y="477658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30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81" y="205635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41" y="29728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41" y="387471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05" y="4791205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5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5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52" y="3874729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8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478379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4C00B8F-F895-7E40-9A20-C0FD2F8E41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248639" y="20417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7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238201" y="295822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8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238199" y="386010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8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227762" y="477658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30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91" y="205635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53" y="29728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53" y="387471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14" y="4791205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5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5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52" y="3874729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8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801988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77634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67195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67194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56757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78920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68483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68482" y="3874729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58045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242145" y="224425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42145" y="3172569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242145" y="410088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5242145" y="5029200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659677" y="2237640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6659677" y="31659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659677" y="40942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6659677" y="5022588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522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4217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3230881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04005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6849233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8658409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46758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701460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70146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2513140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251314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4324821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432482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136503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613650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7948183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948185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9759864" y="386016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9759864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775744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2478345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287521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096697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7905873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715049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1758100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75810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569780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356978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5381461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538146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7193143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19314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9004823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9004825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907000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8235863" y="2884129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4984" y="343427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793291" y="2886217"/>
            <a:ext cx="2624204" cy="2549047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2415" y="3436364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323583" y="2873690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2705" y="342383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4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498420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7898214" y="174723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3649" y="1171556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55640" y="1749327"/>
            <a:ext cx="3280735" cy="4164012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1079" y="1173644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985933" y="173679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1369" y="116111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4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2443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6889750" y="1747239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316241" y="1129740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318909" y="30000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013072" y="1744447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2324683" y="1129740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2326017" y="30000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673958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183721" y="3429011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604460" y="3812585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605599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716065" y="3429011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6805" y="3812585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13794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46324" y="3429011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7064" y="3812585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6820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778669" y="3429011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199408" y="3812585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9200547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647909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7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53340" y="4144620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68" y="4277636"/>
            <a:ext cx="2020889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19997965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376959" y="2066605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989601" y="2852553"/>
            <a:ext cx="2121633" cy="2555019"/>
          </a:xfrm>
          <a:prstGeom prst="rect">
            <a:avLst/>
          </a:prstGeom>
        </p:spPr>
        <p:txBody>
          <a:bodyPr anchor="t"/>
          <a:lstStyle>
            <a:lvl1pPr marL="171414" indent="-171414" algn="l"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5520" y="2066605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3744917" y="2852553"/>
            <a:ext cx="2124867" cy="2555019"/>
          </a:xfrm>
          <a:prstGeom prst="rect">
            <a:avLst/>
          </a:prstGeom>
        </p:spPr>
        <p:txBody>
          <a:bodyPr anchor="t"/>
          <a:lstStyle>
            <a:lvl1pPr marL="171414" indent="-171414" algn="l"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5777" y="2066605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341524" y="2852553"/>
            <a:ext cx="2269079" cy="2555019"/>
          </a:xfrm>
          <a:prstGeom prst="rect">
            <a:avLst/>
          </a:prstGeom>
        </p:spPr>
        <p:txBody>
          <a:bodyPr anchor="t"/>
          <a:lstStyle>
            <a:lvl1pPr marL="171414" indent="-171414" algn="l"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468147" y="2066605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8998194" y="2852553"/>
            <a:ext cx="2286823" cy="2555019"/>
          </a:xfrm>
          <a:prstGeom prst="rect">
            <a:avLst/>
          </a:prstGeom>
        </p:spPr>
        <p:txBody>
          <a:bodyPr anchor="t"/>
          <a:lstStyle>
            <a:lvl1pPr marL="171414" indent="-171414" algn="l">
              <a:buFont typeface="Arial" panose="020B0604020202020204" pitchFamily="34" charset="0"/>
              <a:buChar char="•"/>
              <a:defRPr sz="9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669967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085591" y="5245830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365319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9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108227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3655515" y="5245830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10"/>
          <p:cNvSpPr>
            <a:spLocks noGrp="1"/>
          </p:cNvSpPr>
          <p:nvPr>
            <p:ph type="body" sz="quarter" idx="28"/>
          </p:nvPr>
        </p:nvSpPr>
        <p:spPr>
          <a:xfrm>
            <a:off x="6223351" y="5245830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29"/>
          </p:nvPr>
        </p:nvSpPr>
        <p:spPr>
          <a:xfrm>
            <a:off x="879095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0"/>
          </p:nvPr>
        </p:nvSpPr>
        <p:spPr>
          <a:xfrm>
            <a:off x="622003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793275" y="5245830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6609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10897647" y="6356352"/>
            <a:ext cx="456156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096003" y="296400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926928" y="971597"/>
            <a:ext cx="4083485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926932" y="1502129"/>
            <a:ext cx="4070959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8663607" y="735120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092687" y="738436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8665923" y="2964005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6099315" y="5784450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8666923" y="3555564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6096003" y="3558880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8669239" y="578444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195149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776581" y="736909"/>
            <a:ext cx="44693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1" y="739048"/>
            <a:ext cx="5817251" cy="537366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7102257" y="1290183"/>
            <a:ext cx="3757811" cy="6776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114794" y="2166009"/>
            <a:ext cx="3746281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164583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7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4"/>
          </p:nvPr>
        </p:nvSpPr>
        <p:spPr>
          <a:xfrm>
            <a:off x="8218116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5"/>
          </p:nvPr>
        </p:nvSpPr>
        <p:spPr>
          <a:xfrm>
            <a:off x="4576204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96111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4781656" y="736839"/>
            <a:ext cx="2628693" cy="5363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943993" y="1378965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950620" y="1988556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34909"/>
            <a:ext cx="371287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537584" y="734909"/>
            <a:ext cx="371287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69735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970596" y="6356352"/>
            <a:ext cx="5064369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defPPr>
              <a:defRPr lang="fr-FR"/>
            </a:defPPr>
            <a:lvl1pPr marL="0" algn="ctr" defTabSz="914196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095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6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4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2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94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6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0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5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7058000" cy="543595"/>
          </a:xfrm>
          <a:prstGeom prst="rect">
            <a:avLst/>
          </a:prstGeom>
        </p:spPr>
        <p:txBody>
          <a:bodyPr vert="horz" lIns="91424" tIns="45718" rIns="91424" bIns="45718" rtlCol="0" anchor="ctr">
            <a:noAutofit/>
          </a:bodyPr>
          <a:lstStyle>
            <a:lvl1pPr algn="l">
              <a:defRPr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39416" y="1052736"/>
            <a:ext cx="648072" cy="720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839417" y="1556795"/>
            <a:ext cx="10513168" cy="647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1">
                <a:latin typeface="Raleway" charset="0"/>
                <a:ea typeface="Raleway" charset="0"/>
                <a:cs typeface="Raleway" charset="0"/>
              </a:defRPr>
            </a:lvl1pPr>
            <a:lvl2pPr marL="371391" indent="0">
              <a:buNone/>
              <a:defRPr sz="1200"/>
            </a:lvl2pPr>
            <a:lvl3pPr marL="742783" indent="0">
              <a:buNone/>
              <a:defRPr sz="1200"/>
            </a:lvl3pPr>
            <a:lvl4pPr marL="1114173" indent="0">
              <a:buNone/>
              <a:defRPr sz="1200"/>
            </a:lvl4pPr>
            <a:lvl5pPr marL="1485574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8"/>
          <p:cNvSpPr>
            <a:spLocks noGrp="1"/>
          </p:cNvSpPr>
          <p:nvPr>
            <p:ph type="body" sz="quarter" idx="27"/>
          </p:nvPr>
        </p:nvSpPr>
        <p:spPr>
          <a:xfrm>
            <a:off x="839417" y="2276872"/>
            <a:ext cx="10513168" cy="36004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391" indent="0">
              <a:buNone/>
              <a:defRPr sz="1200"/>
            </a:lvl2pPr>
            <a:lvl3pPr marL="742783" indent="0">
              <a:buNone/>
              <a:defRPr sz="1200"/>
            </a:lvl3pPr>
            <a:lvl4pPr marL="1114173" indent="0">
              <a:buNone/>
              <a:defRPr sz="1200"/>
            </a:lvl4pPr>
            <a:lvl5pPr marL="1485574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8345202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1 -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6685" y="116636"/>
            <a:ext cx="1119272" cy="628925"/>
          </a:xfrm>
          <a:prstGeom prst="rect">
            <a:avLst/>
          </a:prstGeom>
        </p:spPr>
      </p:pic>
      <p:sp>
        <p:nvSpPr>
          <p:cNvPr id="5" name="Espace réservé pour une image  4"/>
          <p:cNvSpPr>
            <a:spLocks noGrp="1"/>
          </p:cNvSpPr>
          <p:nvPr>
            <p:ph type="pic" sz="quarter" idx="10"/>
          </p:nvPr>
        </p:nvSpPr>
        <p:spPr>
          <a:xfrm>
            <a:off x="6384032" y="0"/>
            <a:ext cx="5807968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335360" y="1484784"/>
            <a:ext cx="5187008" cy="792088"/>
          </a:xfrm>
          <a:prstGeom prst="rect">
            <a:avLst/>
          </a:prstGeom>
        </p:spPr>
        <p:txBody>
          <a:bodyPr/>
          <a:lstStyle>
            <a:lvl1pPr algn="l">
              <a:defRPr sz="3600" baseline="0"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27"/>
          </p:nvPr>
        </p:nvSpPr>
        <p:spPr>
          <a:xfrm>
            <a:off x="335360" y="2492900"/>
            <a:ext cx="5184576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391" indent="0">
              <a:buNone/>
              <a:defRPr/>
            </a:lvl2pPr>
            <a:lvl3pPr marL="742783" indent="0">
              <a:buNone/>
              <a:defRPr/>
            </a:lvl3pPr>
            <a:lvl4pPr marL="1114173" indent="0">
              <a:buNone/>
              <a:defRPr/>
            </a:lvl4pPr>
            <a:lvl5pPr marL="1485574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639617" y="6309320"/>
            <a:ext cx="648072" cy="7200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1F497D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63352" y="6309324"/>
            <a:ext cx="27432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07331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eils d'utilis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597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10664" y="849325"/>
            <a:ext cx="3960445" cy="58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4" name="ZoneTexte 11"/>
          <p:cNvSpPr txBox="1">
            <a:spLocks noChangeArrowheads="1"/>
          </p:cNvSpPr>
          <p:nvPr userDrawn="1"/>
        </p:nvSpPr>
        <p:spPr bwMode="auto">
          <a:xfrm>
            <a:off x="1008187" y="333377"/>
            <a:ext cx="4702908" cy="44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8" rIns="91424" bIns="45718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fr-FR" sz="2300">
                <a:solidFill>
                  <a:srgbClr val="FFFFFF"/>
                </a:solidFill>
                <a:latin typeface="Verdana" pitchFamily="34" charset="0"/>
              </a:rPr>
              <a:t>Conseils d’utilis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593016" y="6237288"/>
            <a:ext cx="3598984" cy="620712"/>
          </a:xfrm>
          <a:prstGeom prst="rect">
            <a:avLst/>
          </a:prstGeom>
          <a:solidFill>
            <a:srgbClr val="959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ZoneTexte 5"/>
          <p:cNvSpPr txBox="1"/>
          <p:nvPr userDrawn="1"/>
        </p:nvSpPr>
        <p:spPr>
          <a:xfrm>
            <a:off x="1295408" y="1125550"/>
            <a:ext cx="10658231" cy="5632311"/>
          </a:xfrm>
          <a:prstGeom prst="rect">
            <a:avLst/>
          </a:prstGeom>
          <a:noFill/>
        </p:spPr>
        <p:txBody>
          <a:bodyPr lIns="91424" tIns="45718" rIns="91424" bIns="45718">
            <a:spAutoFit/>
          </a:bodyPr>
          <a:lstStyle/>
          <a:p>
            <a:pPr marL="363466" indent="-188877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police à utiliser est la </a:t>
            </a:r>
            <a:r>
              <a:rPr lang="fr-FR" sz="120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diapositive d’ouverture, le sommaire et les pages de contenu sont invariables.</a:t>
            </a:r>
          </a:p>
          <a:p>
            <a:pPr marL="363466" indent="-188877">
              <a:buFont typeface="Arial" panose="020B0604020202020204" pitchFamily="34" charset="0"/>
              <a:buNone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s pages de parties sont disponibles en 5 couleurs pour vous permettre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personnaliser et de dynamiser votre présentation. Vous pouvez en choisir </a:t>
            </a:r>
          </a:p>
          <a:p>
            <a:pPr marL="363466" indent="-188877">
              <a:buFont typeface="Arial" panose="020B0604020202020204" pitchFamily="34" charset="0"/>
              <a:buNone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une pour l'ensemble du document ou les alterner selon vos besoins.</a:t>
            </a:r>
          </a:p>
          <a:p>
            <a:pPr marL="363466" indent="-188877">
              <a:buFont typeface="Arial" panose="020B0604020202020204" pitchFamily="34" charset="0"/>
              <a:buNone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signature Direction ou Service ou Pôle se change dans le masque des diapositives.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r y accéder : dans le menu sélectionner Affichage &gt; cliquer sur Masque des diapositives, Sélectionner la diapositive 1 puis sélectionner le bloc texte en bas à gauche et inscrire votre signature. Celle-ci se mettra à jour automatiquement dans toutes les autres diapositives 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 masque. Une fois cette opération terminée, sélectionner l’affichage normal pour quitter 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 masque des diapositives.</a:t>
            </a: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589">
              <a:buFont typeface="Arial" panose="020B0604020202020204" pitchFamily="34" charset="0"/>
              <a:buNone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in, n'oubliez pas de rester concis pour une meilleure appropriation de vos messages.</a:t>
            </a:r>
          </a:p>
          <a:p>
            <a:pPr marL="363466" indent="-188877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589"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nne utilisation !</a:t>
            </a:r>
          </a:p>
        </p:txBody>
      </p:sp>
      <p:grpSp>
        <p:nvGrpSpPr>
          <p:cNvPr id="7" name="Groupe 14"/>
          <p:cNvGrpSpPr>
            <a:grpSpLocks/>
          </p:cNvGrpSpPr>
          <p:nvPr userDrawn="1"/>
        </p:nvGrpSpPr>
        <p:grpSpPr bwMode="auto">
          <a:xfrm>
            <a:off x="1662735" y="3860801"/>
            <a:ext cx="8466015" cy="2124075"/>
            <a:chOff x="1247042" y="3897396"/>
            <a:chExt cx="6349294" cy="2123892"/>
          </a:xfrm>
        </p:grpSpPr>
        <p:pic>
          <p:nvPicPr>
            <p:cNvPr id="8" name="Image 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1931" y="3905333"/>
              <a:ext cx="2929204" cy="2115955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9" name="Flèche droite 8"/>
            <p:cNvSpPr/>
            <p:nvPr userDrawn="1"/>
          </p:nvSpPr>
          <p:spPr>
            <a:xfrm rot="9004634">
              <a:off x="2548259" y="3991051"/>
              <a:ext cx="360472" cy="217468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  <p:sp>
          <p:nvSpPr>
            <p:cNvPr id="10" name="Flèche droite 9"/>
            <p:cNvSpPr/>
            <p:nvPr userDrawn="1"/>
          </p:nvSpPr>
          <p:spPr>
            <a:xfrm rot="3065135">
              <a:off x="1175311" y="4234217"/>
              <a:ext cx="360331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  <p:pic>
          <p:nvPicPr>
            <p:cNvPr id="11" name="Image 10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9727" y="3897396"/>
              <a:ext cx="2996609" cy="2123892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12" name="Flèche droite 11"/>
            <p:cNvSpPr/>
            <p:nvPr userDrawn="1"/>
          </p:nvSpPr>
          <p:spPr>
            <a:xfrm rot="3065135">
              <a:off x="5482722" y="5530299"/>
              <a:ext cx="358744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</p:grpSp>
      <p:sp>
        <p:nvSpPr>
          <p:cNvPr id="1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1EDB5-4EE8-4FA8-BF0C-26D1D0395F9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527DA-CE35-4654-8421-7DAFAC967A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99562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a texte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3935" y="1268413"/>
            <a:ext cx="11808884" cy="4680867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FB7FE8-CA00-4258-A8BF-7EE798BE998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369DC-1814-42A4-8E38-894FB6DD6E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80520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7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45024" y="5578976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66" y="5695181"/>
            <a:ext cx="2020889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44976671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 d'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86016" y="1476375"/>
            <a:ext cx="5410200" cy="4076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6473" y="4953000"/>
            <a:ext cx="51542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016632" y="6165861"/>
            <a:ext cx="4175368" cy="692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386486" y="2130440"/>
            <a:ext cx="5409513" cy="1470025"/>
          </a:xfrm>
        </p:spPr>
        <p:txBody>
          <a:bodyPr>
            <a:normAutofit/>
          </a:bodyPr>
          <a:lstStyle>
            <a:lvl1pPr algn="ctr">
              <a:defRPr sz="31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8802293" y="5082184"/>
            <a:ext cx="2635019" cy="694928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4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38C36-6A73-4E4D-875C-C4036FA31BE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CB3CFD-57F9-4865-BBF0-A202424DD5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80660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a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545861" y="1214450"/>
            <a:ext cx="7119816" cy="3976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770184" y="2152652"/>
            <a:ext cx="5152293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45151" y="1484787"/>
            <a:ext cx="7120108" cy="462260"/>
          </a:xfrm>
        </p:spPr>
        <p:txBody>
          <a:bodyPr>
            <a:normAutofit/>
          </a:bodyPr>
          <a:lstStyle>
            <a:lvl1pPr algn="ctr">
              <a:defRPr sz="2300" b="1" cap="none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84617" y="2434944"/>
            <a:ext cx="6432715" cy="2592288"/>
          </a:xfrm>
        </p:spPr>
        <p:txBody>
          <a:bodyPr numCol="2" spcCol="359934">
            <a:normAutofit/>
          </a:bodyPr>
          <a:lstStyle>
            <a:lvl1pPr marL="268228" indent="-268228">
              <a:lnSpc>
                <a:spcPct val="100000"/>
              </a:lnSpc>
              <a:buFont typeface="+mj-lt"/>
              <a:buAutoNum type="arabicPeriod"/>
              <a:defRPr sz="1500">
                <a:solidFill>
                  <a:srgbClr val="AE9A64"/>
                </a:solidFill>
              </a:defRPr>
            </a:lvl1pPr>
            <a:lvl2pPr marL="85707" marR="0" indent="-85707" algn="l" defTabSz="9141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>
                <a:solidFill>
                  <a:srgbClr val="959798"/>
                </a:solidFill>
              </a:defRPr>
            </a:lvl2pPr>
            <a:lvl3pPr marL="9141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9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3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49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58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7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47894-04B9-408F-BF10-A7465FAE280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F5694-A8F2-403C-996E-78791FED81A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309613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Partie_Gri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81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14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13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2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39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BDBB55-2E33-4625-8817-3E1724E31D68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6C039-623E-4CD4-B220-BF69D16C727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0703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Parti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F3D0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81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14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13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2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39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261D1E-0500-4D49-B623-0DA16A5AF1AA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F987A-9162-4A5E-BB9C-01E787537F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19037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 Parti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D9C5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81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14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13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2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39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65484-C0B4-4818-8A33-43C1454D01AD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915AAB-9A5C-455E-800F-C0015F59455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37266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 partie_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B7DD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81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14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13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2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39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8353DA-3DC2-4737-91FA-31A73A156FA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CE753-3CC1-41DF-92CE-89A3A82F01E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535363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 partie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50"/>
            <a:ext cx="11691816" cy="5881687"/>
          </a:xfrm>
          <a:prstGeom prst="rect">
            <a:avLst/>
          </a:prstGeom>
          <a:solidFill>
            <a:srgbClr val="B6D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81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14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13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2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39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5B455-E360-449F-BD24-EE9979AB4D52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4922B-9ED9-4EF4-B3A3-31A2D23EBC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772883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ia 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43341" y="1268413"/>
            <a:ext cx="5681744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88027" y="1268413"/>
            <a:ext cx="5664796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15CCB-E653-4496-98A5-C130B6CAF8B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0CEDD-389E-4669-9C9B-6B94E9A980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897296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69C99-F8CE-4C7A-95A1-7B151E239E3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AC4D2-69D4-4E90-B274-E1330164380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583971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6032-35D0-4EE6-9309-A341ADA6F5F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07816-1D25-441E-8385-26899013A82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72194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10"/>
            <a:ext cx="12192000" cy="331967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3429010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4015412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047424" y="5347256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5085563" y="5480270"/>
            <a:ext cx="2020889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8691121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F443C-2087-4D4F-8F3E-FD9C8CC80D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601734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297973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693935" y="3013419"/>
            <a:ext cx="1985769" cy="2587444"/>
          </a:xfrm>
          <a:prstGeom prst="rect">
            <a:avLst/>
          </a:prstGeom>
          <a:solidFill>
            <a:schemeClr val="accent6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114690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115826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2913656" y="3013419"/>
            <a:ext cx="1985769" cy="2587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3334406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3335544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131286" y="3013419"/>
            <a:ext cx="1985769" cy="2587444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5552037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5553174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350999" y="3013419"/>
            <a:ext cx="1985769" cy="258744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7771754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7772890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9570560" y="3012703"/>
            <a:ext cx="1985769" cy="2587444"/>
          </a:xfrm>
          <a:prstGeom prst="rect">
            <a:avLst/>
          </a:prstGeom>
          <a:solidFill>
            <a:srgbClr val="E3D4E8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9991311" y="334080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35"/>
          </p:nvPr>
        </p:nvSpPr>
        <p:spPr>
          <a:xfrm>
            <a:off x="9992448" y="3913936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391050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297973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780545" y="3013419"/>
            <a:ext cx="1985769" cy="2587444"/>
          </a:xfrm>
          <a:prstGeom prst="rect">
            <a:avLst/>
          </a:prstGeom>
          <a:solidFill>
            <a:schemeClr val="accent6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2201297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2202433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000262" y="3013419"/>
            <a:ext cx="1985769" cy="2587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421013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422150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17891" y="3013419"/>
            <a:ext cx="1985769" cy="2587444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38636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39781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437609" y="3013419"/>
            <a:ext cx="1985769" cy="258744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8858361" y="3341523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8859497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651732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970592" y="6356352"/>
            <a:ext cx="5064369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defPPr>
              <a:defRPr lang="fr-FR"/>
            </a:defPPr>
            <a:lvl1pPr marL="0" algn="ctr" defTabSz="914264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131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4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6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8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62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90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1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Titre 8"/>
          <p:cNvSpPr>
            <a:spLocks noGrp="1"/>
          </p:cNvSpPr>
          <p:nvPr>
            <p:ph type="title" hasCustomPrompt="1"/>
          </p:nvPr>
        </p:nvSpPr>
        <p:spPr>
          <a:xfrm>
            <a:off x="2499693" y="2452345"/>
            <a:ext cx="7192616" cy="1325563"/>
          </a:xfrm>
          <a:prstGeom prst="rect">
            <a:avLst/>
          </a:prstGeom>
        </p:spPr>
        <p:txBody>
          <a:bodyPr/>
          <a:lstStyle>
            <a:lvl1pPr algn="ctr">
              <a:defRPr sz="4900" b="1"/>
            </a:lvl1pPr>
          </a:lstStyle>
          <a:p>
            <a:r>
              <a:rPr lang="fr-FR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87384730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6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3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53340" y="4144620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57" y="4277632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379446662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6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3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45024" y="5578972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56" y="5695177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47964990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4"/>
            <a:ext cx="12192000" cy="331967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3429007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4015412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047424" y="5347256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5085556" y="5480266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41261065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88" y="1710180"/>
            <a:ext cx="2822712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23592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88" y="1710180"/>
            <a:ext cx="2822712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38353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7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300"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33567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98" y="1710183"/>
            <a:ext cx="2822713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382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7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300"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920270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407508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6669779" y="924272"/>
            <a:ext cx="4004848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85999" y="1757779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6673091" y="1752533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89313" y="243695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6676407" y="243170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9" hasCustomPrompt="1"/>
          </p:nvPr>
        </p:nvSpPr>
        <p:spPr>
          <a:xfrm>
            <a:off x="7199253" y="313269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6686347" y="312744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3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7199253" y="3838371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2" hasCustomPrompt="1"/>
          </p:nvPr>
        </p:nvSpPr>
        <p:spPr>
          <a:xfrm>
            <a:off x="6686347" y="3833124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202564" y="4517547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24" hasCustomPrompt="1"/>
          </p:nvPr>
        </p:nvSpPr>
        <p:spPr>
          <a:xfrm>
            <a:off x="6689659" y="4512299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5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7212505" y="5213283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>
            <a:off x="6699595" y="520803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61097577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8663607" y="735120"/>
            <a:ext cx="2348948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2965799" y="1993595"/>
            <a:ext cx="1178823" cy="143540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00"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1928195" y="3429003"/>
            <a:ext cx="3230216" cy="456716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8"/>
          </p:nvPr>
        </p:nvSpPr>
        <p:spPr>
          <a:xfrm>
            <a:off x="8663607" y="3749999"/>
            <a:ext cx="2348948" cy="236257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092687" y="738435"/>
            <a:ext cx="2348948" cy="18159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0"/>
          </p:nvPr>
        </p:nvSpPr>
        <p:spPr>
          <a:xfrm>
            <a:off x="6092687" y="2743209"/>
            <a:ext cx="2348948" cy="337267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07052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6" y="1441179"/>
            <a:ext cx="10306879" cy="468132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16413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8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0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18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9675633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44065" y="736908"/>
            <a:ext cx="10519507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0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18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253369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007392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34283" y="725561"/>
            <a:ext cx="10419521" cy="12641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885513" y="933411"/>
            <a:ext cx="7284515" cy="8595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123130" y="3456945"/>
            <a:ext cx="2608815" cy="245733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103248" y="937277"/>
            <a:ext cx="2628693" cy="230794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3885513" y="2228281"/>
            <a:ext cx="7284515" cy="36859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287567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81" y="951366"/>
            <a:ext cx="5533299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1" y="2064513"/>
            <a:ext cx="5533299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xmlns="" id="{169DFE53-A37A-0C48-840C-800FC24412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89577" y="945837"/>
            <a:ext cx="4654463" cy="139289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xmlns="" id="{09F1D3CC-F123-6E44-B531-60B32B020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89577" y="2467784"/>
            <a:ext cx="4654463" cy="141960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89569" y="425948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69817" y="4090132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>
            <a:extLst>
              <a:ext uri="{FF2B5EF4-FFF2-40B4-BE49-F238E27FC236}">
                <a16:creationId xmlns:a16="http://schemas.microsoft.com/office/drawing/2014/main" xmlns="" id="{C448B7BC-85A6-EE4F-A616-FBEBB166FBB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99341" y="48926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5" name="Espace réservé du texte 10">
            <a:extLst>
              <a:ext uri="{FF2B5EF4-FFF2-40B4-BE49-F238E27FC236}">
                <a16:creationId xmlns:a16="http://schemas.microsoft.com/office/drawing/2014/main" xmlns="" id="{7B3AC243-6026-FD4E-B079-12E5C6FA93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79585" y="4723244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pour une image  7">
            <a:extLst>
              <a:ext uri="{FF2B5EF4-FFF2-40B4-BE49-F238E27FC236}">
                <a16:creationId xmlns:a16="http://schemas.microsoft.com/office/drawing/2014/main" xmlns="" id="{CA1FE1D8-51AF-E442-95A4-A566E0C12EF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99341" y="5528432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10">
            <a:extLst>
              <a:ext uri="{FF2B5EF4-FFF2-40B4-BE49-F238E27FC236}">
                <a16:creationId xmlns:a16="http://schemas.microsoft.com/office/drawing/2014/main" xmlns="" id="{FE834414-624E-9E46-90C3-54C34C3B2E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9585" y="5359080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14" y="188248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29362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77" y="951366"/>
            <a:ext cx="5964371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0" y="2064513"/>
            <a:ext cx="5964371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054283" y="953530"/>
            <a:ext cx="882095" cy="70902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760" y="945837"/>
            <a:ext cx="3251808" cy="307989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14" y="188248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95974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4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4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84802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98" y="1710183"/>
            <a:ext cx="2822713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452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4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4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08CEE8E7-8175-0744-A32F-77ACABA186E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0617" y="160278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  7">
            <a:extLst>
              <a:ext uri="{FF2B5EF4-FFF2-40B4-BE49-F238E27FC236}">
                <a16:creationId xmlns:a16="http://schemas.microsoft.com/office/drawing/2014/main" xmlns="" id="{6F6D79EA-94E6-4C45-985E-3C40D4DEE06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0617" y="32385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>
            <a:extLst>
              <a:ext uri="{FF2B5EF4-FFF2-40B4-BE49-F238E27FC236}">
                <a16:creationId xmlns:a16="http://schemas.microsoft.com/office/drawing/2014/main" xmlns="" id="{DC78123D-C465-7545-8B55-033B4DC9BA8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9989" y="487421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24505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4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4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D908C506-15CF-7D43-8E92-7FF844ED393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29403" y="1868497"/>
            <a:ext cx="4734168" cy="321151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68947FB6-160E-0B46-9494-812B3610FB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5076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>
            <a:extLst>
              <a:ext uri="{FF2B5EF4-FFF2-40B4-BE49-F238E27FC236}">
                <a16:creationId xmlns:a16="http://schemas.microsoft.com/office/drawing/2014/main" xmlns="" id="{8A894792-C3A5-E94A-8092-E76C4CF69F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413" y="2465391"/>
            <a:ext cx="5426075" cy="3617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xmlns="" id="{609B2549-72B4-1D4A-8B3C-19DE7C250B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9403" y="5233988"/>
            <a:ext cx="4734168" cy="887624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ctr">
              <a:buNone/>
              <a:defRPr sz="13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11425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xmlns="" id="{5955F877-18D3-B34B-AE0C-28BCB9396B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4184" y="1198584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xmlns="" id="{30E4B824-1661-3E49-BAE9-4D25BABCDF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70055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75E6EFB1-20CF-B04F-BEE5-BF800D917148}"/>
              </a:ext>
            </a:extLst>
          </p:cNvPr>
          <p:cNvCxnSpPr/>
          <p:nvPr userDrawn="1"/>
        </p:nvCxnSpPr>
        <p:spPr>
          <a:xfrm>
            <a:off x="0" y="1836169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EE22C74-C621-4549-B2DD-492F43D724EC}"/>
              </a:ext>
            </a:extLst>
          </p:cNvPr>
          <p:cNvSpPr/>
          <p:nvPr userDrawn="1"/>
        </p:nvSpPr>
        <p:spPr>
          <a:xfrm>
            <a:off x="6684929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293CE259-0B00-9445-B58B-AFCA9E593D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58196" y="1198584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xmlns="" id="{3B1F6662-90F2-0643-92A3-71C0E73904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04067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99BECC6-B3FC-0046-97B1-0B7CE4AF51BE}"/>
              </a:ext>
            </a:extLst>
          </p:cNvPr>
          <p:cNvSpPr/>
          <p:nvPr userDrawn="1"/>
        </p:nvSpPr>
        <p:spPr>
          <a:xfrm>
            <a:off x="10018941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784F9939-2369-D347-977F-56A5FE93CC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31924" y="1198584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xmlns="" id="{B5C9C343-D588-1847-B08D-D344DCBB5E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77799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6C2D858-44C3-4041-856A-38C3BAE34034}"/>
              </a:ext>
            </a:extLst>
          </p:cNvPr>
          <p:cNvSpPr/>
          <p:nvPr userDrawn="1"/>
        </p:nvSpPr>
        <p:spPr>
          <a:xfrm>
            <a:off x="3392673" y="174222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xmlns="" id="{78515F5B-90EF-D341-BE19-4352CF111B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0793" y="2047133"/>
            <a:ext cx="1425016" cy="930011"/>
          </a:xfrm>
          <a:prstGeom prst="rect">
            <a:avLst/>
          </a:prstGeom>
          <a:solidFill>
            <a:schemeClr val="accent4"/>
          </a:solidFill>
        </p:spPr>
        <p:txBody>
          <a:bodyPr anchor="t"/>
          <a:lstStyle>
            <a:lvl1pPr marL="0" indent="0" algn="ctr">
              <a:buNone/>
              <a:defRPr sz="1100" b="1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xmlns="" id="{082380A0-C902-BB4D-849B-7496C18AF1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</p:spTree>
    <p:extLst>
      <p:ext uri="{BB962C8B-B14F-4D97-AF65-F5344CB8AC3E}">
        <p14:creationId xmlns:p14="http://schemas.microsoft.com/office/powerpoint/2010/main" val="13991860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4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4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8027824" y="1703925"/>
            <a:ext cx="2674229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79553" y="1941977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E4CD00-F526-C947-AE4B-4AC61F764576}"/>
              </a:ext>
            </a:extLst>
          </p:cNvPr>
          <p:cNvSpPr/>
          <p:nvPr userDrawn="1"/>
        </p:nvSpPr>
        <p:spPr>
          <a:xfrm>
            <a:off x="4997324" y="1706012"/>
            <a:ext cx="2674229" cy="4211135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47FCE1F7-41C7-4949-AEBD-B2E74A563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49052" y="1944065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1966824" y="1693486"/>
            <a:ext cx="2674229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18553" y="1931538"/>
            <a:ext cx="2270603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</p:spTree>
    <p:extLst>
      <p:ext uri="{BB962C8B-B14F-4D97-AF65-F5344CB8AC3E}">
        <p14:creationId xmlns:p14="http://schemas.microsoft.com/office/powerpoint/2010/main" val="23405345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977849" y="194061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967495" y="1693986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9215" y="193204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E4CD00-F526-C947-AE4B-4AC61F764576}"/>
              </a:ext>
            </a:extLst>
          </p:cNvPr>
          <p:cNvSpPr/>
          <p:nvPr userDrawn="1"/>
        </p:nvSpPr>
        <p:spPr>
          <a:xfrm>
            <a:off x="4524925" y="1696073"/>
            <a:ext cx="3185407" cy="4211135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47FCE1F7-41C7-4949-AEBD-B2E74A563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76646" y="1934125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1055214" y="1683540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6935" y="192160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FF0D1546-DEE9-4848-950F-93266B2BCF8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809937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33505" y="110745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7816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4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4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133955" y="1693986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11489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682071" y="1693986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9605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92469" y="110586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72942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8"/>
            <a:ext cx="2628693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65" y="1391488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2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41796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8"/>
            <a:ext cx="2628693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65" y="1391488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2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418059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0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18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772127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0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18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821934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9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5940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66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6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3118984" y="1174316"/>
            <a:ext cx="726509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1440496" y="3225256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2" y="3884166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77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605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66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6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2" y="3884166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77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00" y="3909219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09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7622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0" y="3884166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6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8697237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8204548" y="1174316"/>
            <a:ext cx="726509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6526066" y="3225256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00" y="3909219"/>
            <a:ext cx="255948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09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6833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409152" y="20417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3" y="20417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398713" y="295822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5" y="295823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398713" y="386010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5" y="38601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388277" y="477658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26" y="4776598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81" y="205635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41" y="29728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41" y="387471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05" y="4791205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1" y="205636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48" y="29728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48" y="387472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4" y="47912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211527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4C00B8F-F895-7E40-9A20-C0FD2F8E41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248635" y="20417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3" y="20417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238196" y="295822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5" y="295823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238195" y="386010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5" y="38601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227758" y="477658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26" y="4776598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87" y="205635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49" y="29728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49" y="387471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10" y="4791205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1" y="205636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48" y="29728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48" y="387472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4" y="47912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0976445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77630" y="20417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67191" y="295823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67190" y="38601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56753" y="4776598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78917" y="205636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68479" y="2972850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68478" y="387472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58041" y="479121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242145" y="224425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42145" y="3172569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242145" y="410088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5242145" y="5029200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659677" y="2237640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6659677" y="31659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659677" y="40942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6659677" y="5022588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7662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4217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3230881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04005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6849233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8658409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46758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701460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701460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2513140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251314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4324821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432482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136503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6136501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7948183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948185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9759864" y="3860157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9759864" y="435597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735728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2478345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287521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096697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7905873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715049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1758100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75810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569780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356978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5381461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538146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7193143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193141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9004823" y="3921115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9004825" y="441693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829778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8235863" y="2884125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4984" y="3434273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793291" y="2886213"/>
            <a:ext cx="2624204" cy="2549047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2415" y="3436360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323583" y="2873686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2705" y="3423831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4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908101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7898210" y="174723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3649" y="1171552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55640" y="1749327"/>
            <a:ext cx="3280735" cy="4164012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1079" y="1173640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985929" y="173679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1369" y="1161113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4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661054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9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753258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6889746" y="1747239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316241" y="1129736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318909" y="30000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013071" y="1744447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2324683" y="1129736"/>
            <a:ext cx="166596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2326017" y="30000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55180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183717" y="3429007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604460" y="3812581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605599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716061" y="3429007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6805" y="3812581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13794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46320" y="3429007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7064" y="3812581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6820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778665" y="3429007"/>
            <a:ext cx="2235897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199408" y="3812581"/>
            <a:ext cx="1419448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9200547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741223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376959" y="2066600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989597" y="2852553"/>
            <a:ext cx="2121633" cy="2555019"/>
          </a:xfrm>
          <a:prstGeom prst="rect">
            <a:avLst/>
          </a:prstGeom>
        </p:spPr>
        <p:txBody>
          <a:bodyPr anchor="t"/>
          <a:lstStyle>
            <a:lvl1pPr marL="171426" indent="-171426" algn="l">
              <a:buFont typeface="Arial" panose="020B0604020202020204" pitchFamily="34" charset="0"/>
              <a:buChar char="•"/>
              <a:defRPr sz="11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5520" y="2066600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3744917" y="2852553"/>
            <a:ext cx="2124867" cy="2555019"/>
          </a:xfrm>
          <a:prstGeom prst="rect">
            <a:avLst/>
          </a:prstGeom>
        </p:spPr>
        <p:txBody>
          <a:bodyPr anchor="t"/>
          <a:lstStyle>
            <a:lvl1pPr marL="171426" indent="-171426" algn="l">
              <a:buFont typeface="Arial" panose="020B0604020202020204" pitchFamily="34" charset="0"/>
              <a:buChar char="•"/>
              <a:defRPr sz="11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5777" y="2066600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341524" y="2852553"/>
            <a:ext cx="2269079" cy="2555019"/>
          </a:xfrm>
          <a:prstGeom prst="rect">
            <a:avLst/>
          </a:prstGeom>
        </p:spPr>
        <p:txBody>
          <a:bodyPr anchor="t"/>
          <a:lstStyle>
            <a:lvl1pPr marL="171426" indent="-171426" algn="l">
              <a:buFont typeface="Arial" panose="020B0604020202020204" pitchFamily="34" charset="0"/>
              <a:buChar char="•"/>
              <a:defRPr sz="11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468147" y="2066600"/>
            <a:ext cx="1510896" cy="5954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8998190" y="2852553"/>
            <a:ext cx="2286823" cy="2555019"/>
          </a:xfrm>
          <a:prstGeom prst="rect">
            <a:avLst/>
          </a:prstGeom>
        </p:spPr>
        <p:txBody>
          <a:bodyPr anchor="t"/>
          <a:lstStyle>
            <a:lvl1pPr marL="171426" indent="-171426" algn="l">
              <a:buFont typeface="Arial" panose="020B0604020202020204" pitchFamily="34" charset="0"/>
              <a:buChar char="•"/>
              <a:defRPr sz="1100" b="0" i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985137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085591" y="524582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365319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9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108227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3655515" y="524582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10"/>
          <p:cNvSpPr>
            <a:spLocks noGrp="1"/>
          </p:cNvSpPr>
          <p:nvPr>
            <p:ph type="body" sz="quarter" idx="28"/>
          </p:nvPr>
        </p:nvSpPr>
        <p:spPr>
          <a:xfrm>
            <a:off x="6223351" y="524582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29"/>
          </p:nvPr>
        </p:nvSpPr>
        <p:spPr>
          <a:xfrm>
            <a:off x="879095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0"/>
          </p:nvPr>
        </p:nvSpPr>
        <p:spPr>
          <a:xfrm>
            <a:off x="622003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793275" y="524582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9436719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10897647" y="6356352"/>
            <a:ext cx="456156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096003" y="2964002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926927" y="971593"/>
            <a:ext cx="4083485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926932" y="1502129"/>
            <a:ext cx="4070959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8663607" y="735120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092687" y="738436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8665923" y="2964001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6099315" y="5784446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8666923" y="3555564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6096003" y="3558880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8669239" y="5784445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918563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776581" y="736908"/>
            <a:ext cx="44693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1" y="739044"/>
            <a:ext cx="5817251" cy="537366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7102257" y="1290183"/>
            <a:ext cx="3757811" cy="6776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114790" y="2166009"/>
            <a:ext cx="3746281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097827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3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4"/>
          </p:nvPr>
        </p:nvSpPr>
        <p:spPr>
          <a:xfrm>
            <a:off x="8218112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5"/>
          </p:nvPr>
        </p:nvSpPr>
        <p:spPr>
          <a:xfrm>
            <a:off x="4576200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70468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4781656" y="736839"/>
            <a:ext cx="2628693" cy="5363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943993" y="1378961"/>
            <a:ext cx="2312504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950620" y="1988556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0" y="734909"/>
            <a:ext cx="371287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537584" y="734909"/>
            <a:ext cx="371287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8177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970592" y="6356352"/>
            <a:ext cx="5064369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defPPr>
              <a:defRPr lang="fr-FR"/>
            </a:defPPr>
            <a:lvl1pPr marL="0" algn="ctr" defTabSz="914264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131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4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6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8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62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90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20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51" algn="l" defTabSz="91426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7058000" cy="543595"/>
          </a:xfrm>
          <a:prstGeom prst="rect">
            <a:avLst/>
          </a:prstGeom>
        </p:spPr>
        <p:txBody>
          <a:bodyPr vert="horz" lIns="121904" tIns="60952" rIns="121904" bIns="60952" rtlCol="0" anchor="ctr">
            <a:noAutofit/>
          </a:bodyPr>
          <a:lstStyle>
            <a:lvl1pPr algn="l">
              <a:defRPr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39416" y="1052736"/>
            <a:ext cx="648072" cy="720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8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839417" y="1556795"/>
            <a:ext cx="10513168" cy="647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1">
                <a:latin typeface="Raleway" charset="0"/>
                <a:ea typeface="Raleway" charset="0"/>
                <a:cs typeface="Raleway" charset="0"/>
              </a:defRPr>
            </a:lvl1pPr>
            <a:lvl2pPr marL="371419" indent="0">
              <a:buNone/>
              <a:defRPr sz="1100"/>
            </a:lvl2pPr>
            <a:lvl3pPr marL="742839" indent="0">
              <a:buNone/>
              <a:defRPr sz="1100"/>
            </a:lvl3pPr>
            <a:lvl4pPr marL="1114257" indent="0">
              <a:buNone/>
              <a:defRPr sz="1100"/>
            </a:lvl4pPr>
            <a:lvl5pPr marL="1485682" indent="0">
              <a:buNone/>
              <a:defRPr sz="11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8"/>
          <p:cNvSpPr>
            <a:spLocks noGrp="1"/>
          </p:cNvSpPr>
          <p:nvPr>
            <p:ph type="body" sz="quarter" idx="27"/>
          </p:nvPr>
        </p:nvSpPr>
        <p:spPr>
          <a:xfrm>
            <a:off x="839417" y="2276872"/>
            <a:ext cx="10513168" cy="36004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419" indent="0">
              <a:buNone/>
              <a:defRPr sz="1100"/>
            </a:lvl2pPr>
            <a:lvl3pPr marL="742839" indent="0">
              <a:buNone/>
              <a:defRPr sz="1100"/>
            </a:lvl3pPr>
            <a:lvl4pPr marL="1114257" indent="0">
              <a:buNone/>
              <a:defRPr sz="1100"/>
            </a:lvl4pPr>
            <a:lvl5pPr marL="1485682" indent="0">
              <a:buNone/>
              <a:defRPr sz="11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3160770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1 -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6685" y="116636"/>
            <a:ext cx="1119272" cy="628925"/>
          </a:xfrm>
          <a:prstGeom prst="rect">
            <a:avLst/>
          </a:prstGeom>
        </p:spPr>
      </p:pic>
      <p:sp>
        <p:nvSpPr>
          <p:cNvPr id="5" name="Espace réservé pour une image  4"/>
          <p:cNvSpPr>
            <a:spLocks noGrp="1"/>
          </p:cNvSpPr>
          <p:nvPr>
            <p:ph type="pic" sz="quarter" idx="10"/>
          </p:nvPr>
        </p:nvSpPr>
        <p:spPr>
          <a:xfrm>
            <a:off x="6384032" y="0"/>
            <a:ext cx="5807968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335360" y="1484784"/>
            <a:ext cx="5187008" cy="792088"/>
          </a:xfrm>
          <a:prstGeom prst="rect">
            <a:avLst/>
          </a:prstGeom>
        </p:spPr>
        <p:txBody>
          <a:bodyPr/>
          <a:lstStyle>
            <a:lvl1pPr algn="l">
              <a:defRPr sz="3600" baseline="0"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27"/>
          </p:nvPr>
        </p:nvSpPr>
        <p:spPr>
          <a:xfrm>
            <a:off x="335360" y="2492900"/>
            <a:ext cx="5184576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419" indent="0">
              <a:buNone/>
              <a:defRPr/>
            </a:lvl2pPr>
            <a:lvl3pPr marL="742839" indent="0">
              <a:buNone/>
              <a:defRPr/>
            </a:lvl3pPr>
            <a:lvl4pPr marL="1114257" indent="0">
              <a:buNone/>
              <a:defRPr/>
            </a:lvl4pPr>
            <a:lvl5pPr marL="1485682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639617" y="6309320"/>
            <a:ext cx="648072" cy="7200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1F497D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63352" y="6309324"/>
            <a:ext cx="2743200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176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407508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6669779" y="924272"/>
            <a:ext cx="4004848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86002" y="1757779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6673091" y="1752533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89315" y="243695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6676407" y="243170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9" hasCustomPrompt="1"/>
          </p:nvPr>
        </p:nvSpPr>
        <p:spPr>
          <a:xfrm>
            <a:off x="7199255" y="313269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6686347" y="312744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3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7199255" y="3838371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2" hasCustomPrompt="1"/>
          </p:nvPr>
        </p:nvSpPr>
        <p:spPr>
          <a:xfrm>
            <a:off x="6686347" y="3833124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202567" y="4517547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24" hasCustomPrompt="1"/>
          </p:nvPr>
        </p:nvSpPr>
        <p:spPr>
          <a:xfrm>
            <a:off x="6689659" y="4512299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5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7212507" y="5213283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>
            <a:off x="6699595" y="520803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3676151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eils d'utilis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597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10664" y="849321"/>
            <a:ext cx="3960445" cy="58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4" name="ZoneTexte 11"/>
          <p:cNvSpPr txBox="1">
            <a:spLocks noChangeArrowheads="1"/>
          </p:cNvSpPr>
          <p:nvPr userDrawn="1"/>
        </p:nvSpPr>
        <p:spPr bwMode="auto">
          <a:xfrm>
            <a:off x="1008187" y="333379"/>
            <a:ext cx="4702908" cy="477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4" tIns="60952" rIns="121904" bIns="60952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9020" eaLnBrk="1" hangingPunct="1">
              <a:defRPr/>
            </a:pPr>
            <a:r>
              <a:rPr lang="fr-FR" altLang="fr-FR" sz="2300">
                <a:solidFill>
                  <a:srgbClr val="FFFFFF"/>
                </a:solidFill>
                <a:latin typeface="Verdana" pitchFamily="34" charset="0"/>
              </a:rPr>
              <a:t>Conseils d’utilis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593016" y="6237288"/>
            <a:ext cx="3598984" cy="620712"/>
          </a:xfrm>
          <a:prstGeom prst="rect">
            <a:avLst/>
          </a:prstGeom>
          <a:solidFill>
            <a:srgbClr val="959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ZoneTexte 5"/>
          <p:cNvSpPr txBox="1"/>
          <p:nvPr userDrawn="1"/>
        </p:nvSpPr>
        <p:spPr>
          <a:xfrm>
            <a:off x="1295404" y="1125546"/>
            <a:ext cx="10658231" cy="5663089"/>
          </a:xfrm>
          <a:prstGeom prst="rect">
            <a:avLst/>
          </a:prstGeom>
          <a:noFill/>
        </p:spPr>
        <p:txBody>
          <a:bodyPr lIns="121904" tIns="60952" rIns="121904" bIns="60952">
            <a:spAutoFit/>
          </a:bodyPr>
          <a:lstStyle/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police à utiliser est la </a:t>
            </a:r>
            <a:r>
              <a:rPr lang="fr-FR" sz="120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diapositive d’ouverture, le sommaire et les pages de contenu sont invariables.</a:t>
            </a:r>
          </a:p>
          <a:p>
            <a:pPr marL="363490" indent="-188889" defTabSz="1219020">
              <a:buFont typeface="Arial" panose="020B0604020202020204" pitchFamily="34" charset="0"/>
              <a:buNone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s pages de parties sont disponibles en 5 couleurs pour vous permettre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personnaliser et de dynamiser votre présentation. Vous pouvez en choisir </a:t>
            </a:r>
          </a:p>
          <a:p>
            <a:pPr marL="363490" indent="-188889" defTabSz="1219020">
              <a:buFont typeface="Arial" panose="020B0604020202020204" pitchFamily="34" charset="0"/>
              <a:buNone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une pour l'ensemble du document ou les alterner selon vos besoins.</a:t>
            </a:r>
          </a:p>
          <a:p>
            <a:pPr marL="363490" indent="-188889" defTabSz="1219020">
              <a:buFont typeface="Arial" panose="020B0604020202020204" pitchFamily="34" charset="0"/>
              <a:buNone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signature Direction ou Service ou Pôle se change dans le masque des diapositives.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r y accéder : dans le menu sélectionner Affichage &gt; cliquer sur Masque des diapositives, Sélectionner la diapositive 1 puis sélectionner le bloc texte en bas à gauche et inscrire votre signature. Celle-ci se mettra à jour automatiquement dans toutes les autres diapositives 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 masque. Une fois cette opération terminée, sélectionner l’affichage normal pour quitter </a:t>
            </a:r>
            <a:b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 masque des diapositives.</a:t>
            </a: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601" defTabSz="1219020">
              <a:buFont typeface="Arial" panose="020B0604020202020204" pitchFamily="34" charset="0"/>
              <a:buNone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in, n'oubliez pas de rester concis pour une meilleure appropriation de vos messages.</a:t>
            </a:r>
          </a:p>
          <a:p>
            <a:pPr marL="363490" indent="-188889" defTabSz="1219020">
              <a:buFont typeface="Arial" panose="020B0604020202020204" pitchFamily="34" charset="0"/>
              <a:buChar char="•"/>
              <a:defRPr/>
            </a:pPr>
            <a:endParaRPr lang="fr-FR" sz="120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601" defTabSz="1219020">
              <a:defRPr/>
            </a:pP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nne utilisation !</a:t>
            </a:r>
          </a:p>
        </p:txBody>
      </p:sp>
      <p:grpSp>
        <p:nvGrpSpPr>
          <p:cNvPr id="7" name="Groupe 14"/>
          <p:cNvGrpSpPr>
            <a:grpSpLocks/>
          </p:cNvGrpSpPr>
          <p:nvPr userDrawn="1"/>
        </p:nvGrpSpPr>
        <p:grpSpPr bwMode="auto">
          <a:xfrm>
            <a:off x="1662731" y="3860801"/>
            <a:ext cx="8466015" cy="2124075"/>
            <a:chOff x="1247042" y="3897396"/>
            <a:chExt cx="6349294" cy="2123892"/>
          </a:xfrm>
        </p:grpSpPr>
        <p:pic>
          <p:nvPicPr>
            <p:cNvPr id="8" name="Image 7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1931" y="3905333"/>
              <a:ext cx="2929204" cy="2115955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9" name="Flèche droite 8"/>
            <p:cNvSpPr/>
            <p:nvPr userDrawn="1"/>
          </p:nvSpPr>
          <p:spPr>
            <a:xfrm rot="9004634">
              <a:off x="2548259" y="3991051"/>
              <a:ext cx="360472" cy="217468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020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  <p:sp>
          <p:nvSpPr>
            <p:cNvPr id="10" name="Flèche droite 9"/>
            <p:cNvSpPr/>
            <p:nvPr userDrawn="1"/>
          </p:nvSpPr>
          <p:spPr>
            <a:xfrm rot="3065135">
              <a:off x="1175311" y="4234217"/>
              <a:ext cx="360331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020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  <p:pic>
          <p:nvPicPr>
            <p:cNvPr id="11" name="Image 10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9727" y="3897396"/>
              <a:ext cx="2996609" cy="2123892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12" name="Flèche droite 11"/>
            <p:cNvSpPr/>
            <p:nvPr userDrawn="1"/>
          </p:nvSpPr>
          <p:spPr>
            <a:xfrm rot="3065135">
              <a:off x="5482722" y="5530299"/>
              <a:ext cx="358744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020">
                <a:defRPr/>
              </a:pPr>
              <a:endParaRPr lang="fr-FR" sz="1900">
                <a:solidFill>
                  <a:srgbClr val="FFFFFF"/>
                </a:solidFill>
              </a:endParaRPr>
            </a:p>
          </p:txBody>
        </p:sp>
      </p:grpSp>
      <p:sp>
        <p:nvSpPr>
          <p:cNvPr id="1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1EDB5-4EE8-4FA8-BF0C-26D1D0395F9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527DA-CE35-4654-8421-7DAFAC967A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500541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a texte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3771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3935" y="1268413"/>
            <a:ext cx="11808884" cy="4680867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FB7FE8-CA00-4258-A8BF-7EE798BE998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369DC-1814-42A4-8E38-894FB6DD6E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45142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 d'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86016" y="1476375"/>
            <a:ext cx="5410200" cy="4076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6468" y="4953000"/>
            <a:ext cx="51542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016632" y="6165857"/>
            <a:ext cx="4175368" cy="692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386482" y="2130436"/>
            <a:ext cx="5409513" cy="1470025"/>
          </a:xfrm>
        </p:spPr>
        <p:txBody>
          <a:bodyPr>
            <a:normAutofit/>
          </a:bodyPr>
          <a:lstStyle>
            <a:lvl1pPr algn="ctr">
              <a:defRPr sz="31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8802293" y="5082184"/>
            <a:ext cx="2635019" cy="694928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457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38C36-6A73-4E4D-875C-C4036FA31BE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CB3CFD-57F9-4865-BBF0-A202424DD5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46718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a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545861" y="1214446"/>
            <a:ext cx="7119816" cy="3976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770184" y="2152652"/>
            <a:ext cx="5152293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45151" y="1484787"/>
            <a:ext cx="7120108" cy="462260"/>
          </a:xfrm>
        </p:spPr>
        <p:txBody>
          <a:bodyPr>
            <a:normAutofit/>
          </a:bodyPr>
          <a:lstStyle>
            <a:lvl1pPr algn="ctr">
              <a:defRPr sz="2300" b="1" cap="none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84617" y="2434944"/>
            <a:ext cx="6432715" cy="2592288"/>
          </a:xfrm>
        </p:spPr>
        <p:txBody>
          <a:bodyPr numCol="2" spcCol="479928">
            <a:normAutofit/>
          </a:bodyPr>
          <a:lstStyle>
            <a:lvl1pPr marL="268248" indent="-268248">
              <a:lnSpc>
                <a:spcPct val="100000"/>
              </a:lnSpc>
              <a:buFont typeface="+mj-lt"/>
              <a:buAutoNum type="arabicPeriod"/>
              <a:defRPr sz="1500">
                <a:solidFill>
                  <a:srgbClr val="AE9A64"/>
                </a:solidFill>
              </a:defRPr>
            </a:lvl1pPr>
            <a:lvl2pPr marL="85713" marR="0" indent="-85713" algn="l" defTabSz="91426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>
                <a:solidFill>
                  <a:srgbClr val="959798"/>
                </a:solidFill>
              </a:defRPr>
            </a:lvl2pPr>
            <a:lvl3pPr marL="9142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52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66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79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92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705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47894-04B9-408F-BF10-A7465FAE280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F5694-A8F2-403C-996E-78791FED81A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553717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Partie_Gri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0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7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38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67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40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647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1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BDBB55-2E33-4625-8817-3E1724E31D68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6C039-623E-4CD4-B220-BF69D16C727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538592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Parti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F3D0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0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7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38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67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40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647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1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261D1E-0500-4D49-B623-0DA16A5AF1AA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F987A-9162-4A5E-BB9C-01E787537F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368467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 Parti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D9C5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0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7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38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67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40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647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1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65484-C0B4-4818-8A33-43C1454D01AD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915AAB-9A5C-455E-800F-C0015F59455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5403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 partie_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B7DD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0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7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38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67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40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647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1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8353DA-3DC2-4737-91FA-31A73A156FA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CE753-3CC1-41DF-92CE-89A3A82F01E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7070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 partie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08" y="173044"/>
            <a:ext cx="11691816" cy="5881687"/>
          </a:xfrm>
          <a:prstGeom prst="rect">
            <a:avLst/>
          </a:prstGeom>
          <a:solidFill>
            <a:srgbClr val="B6D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0" y="1803400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7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38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67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403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647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1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5B455-E360-449F-BD24-EE9979AB4D52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4922B-9ED9-4EF4-B3A3-31A2D23EBC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418838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ia 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263771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43341" y="1268413"/>
            <a:ext cx="5681744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88027" y="1268413"/>
            <a:ext cx="5664796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15CCB-E653-4496-98A5-C130B6CAF8B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0CEDD-389E-4669-9C9B-6B94E9A980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0842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xmlns="" id="{02EDA228-219D-4612-B633-232954B8C3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81832" y="2583678"/>
            <a:ext cx="8106039" cy="2977527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6950"/>
              </a:lnSpc>
              <a:spcBef>
                <a:spcPts val="0"/>
              </a:spcBef>
              <a:buNone/>
              <a:defRPr sz="6700">
                <a:solidFill>
                  <a:srgbClr val="5B697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6950"/>
              </a:lnSpc>
              <a:spcBef>
                <a:spcPts val="0"/>
              </a:spcBef>
              <a:buNone/>
              <a:defRPr sz="6700">
                <a:solidFill>
                  <a:srgbClr val="5B6971"/>
                </a:solidFill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defRPr>
            </a:lvl2pPr>
            <a:lvl3pPr marL="0" indent="0">
              <a:lnSpc>
                <a:spcPts val="6950"/>
              </a:lnSpc>
              <a:spcBef>
                <a:spcPts val="0"/>
              </a:spcBef>
              <a:buNone/>
              <a:defRPr sz="6700">
                <a:solidFill>
                  <a:srgbClr val="5B6971"/>
                </a:solidFill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defRPr>
            </a:lvl3pPr>
            <a:lvl4pPr marL="0" indent="0">
              <a:lnSpc>
                <a:spcPts val="6950"/>
              </a:lnSpc>
              <a:spcBef>
                <a:spcPts val="0"/>
              </a:spcBef>
              <a:buNone/>
              <a:defRPr sz="6700">
                <a:solidFill>
                  <a:srgbClr val="5B6971"/>
                </a:solidFill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defRPr>
            </a:lvl4pPr>
            <a:lvl5pPr marL="0" indent="0">
              <a:lnSpc>
                <a:spcPts val="6950"/>
              </a:lnSpc>
              <a:spcBef>
                <a:spcPts val="0"/>
              </a:spcBef>
              <a:buNone/>
              <a:defRPr sz="6700">
                <a:solidFill>
                  <a:srgbClr val="5B6971"/>
                </a:solidFill>
                <a:latin typeface="Segoe UI Semibold" panose="020B0702040204020203" pitchFamily="34" charset="0"/>
                <a:ea typeface="Segoe UI Historic" panose="020B05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200AAEBE-7C8A-4AF0-8365-907BA7E2EF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12131A93-275F-47D7-832A-EB8BA07B71E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986B9037-2E58-4DA4-9884-D672BFE057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5C0D7C38-8959-432C-87E7-16AA99C298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2307655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8663607" y="735120"/>
            <a:ext cx="2348948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2965803" y="1993604"/>
            <a:ext cx="1178823" cy="143540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00"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1928205" y="3429003"/>
            <a:ext cx="3230217" cy="456716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8"/>
          </p:nvPr>
        </p:nvSpPr>
        <p:spPr>
          <a:xfrm>
            <a:off x="8663607" y="3750000"/>
            <a:ext cx="2348948" cy="236257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092687" y="738435"/>
            <a:ext cx="2348948" cy="18159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0"/>
          </p:nvPr>
        </p:nvSpPr>
        <p:spPr>
          <a:xfrm>
            <a:off x="6092687" y="2743211"/>
            <a:ext cx="2348948" cy="337267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18730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 userDrawn="1"/>
        </p:nvSpPr>
        <p:spPr>
          <a:xfrm>
            <a:off x="263771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04" tIns="60952" rIns="121904" bIns="60952" anchor="ctr"/>
          <a:lstStyle/>
          <a:p>
            <a:pPr algn="ctr" defTabSz="1219020">
              <a:defRPr/>
            </a:pPr>
            <a:endParaRPr lang="fr-FR" sz="1900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69C99-F8CE-4C7A-95A1-7B151E239E3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AC4D2-69D4-4E90-B274-E1330164380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073989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6032-35D0-4EE6-9309-A341ADA6F5F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07816-1D25-441E-8385-26899013A82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035866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F443C-2087-4D4F-8F3E-FD9C8CC80D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341980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297973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693931" y="3013419"/>
            <a:ext cx="1985769" cy="2587444"/>
          </a:xfrm>
          <a:prstGeom prst="rect">
            <a:avLst/>
          </a:prstGeom>
          <a:solidFill>
            <a:schemeClr val="accent6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114686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115822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2913652" y="3013419"/>
            <a:ext cx="1985769" cy="2587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3334402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3335540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131282" y="3013419"/>
            <a:ext cx="1985769" cy="2587444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5552033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5553170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350998" y="3013419"/>
            <a:ext cx="1985769" cy="258744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7771750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7772886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9570556" y="3012703"/>
            <a:ext cx="1985769" cy="2587444"/>
          </a:xfrm>
          <a:prstGeom prst="rect">
            <a:avLst/>
          </a:prstGeom>
          <a:solidFill>
            <a:srgbClr val="E3D4E8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34" hasCustomPrompt="1"/>
          </p:nvPr>
        </p:nvSpPr>
        <p:spPr>
          <a:xfrm>
            <a:off x="9991307" y="3340805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du texte 10"/>
          <p:cNvSpPr>
            <a:spLocks noGrp="1"/>
          </p:cNvSpPr>
          <p:nvPr>
            <p:ph type="body" sz="quarter" idx="35"/>
          </p:nvPr>
        </p:nvSpPr>
        <p:spPr>
          <a:xfrm>
            <a:off x="9992444" y="3913936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507177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598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297973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780541" y="3013419"/>
            <a:ext cx="1985769" cy="2587444"/>
          </a:xfrm>
          <a:prstGeom prst="rect">
            <a:avLst/>
          </a:prstGeom>
          <a:solidFill>
            <a:schemeClr val="accent6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2201293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2202429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3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000258" y="3013419"/>
            <a:ext cx="1985769" cy="2587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421009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422146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17889" y="3013419"/>
            <a:ext cx="1985769" cy="2587444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38636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39777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437605" y="3013419"/>
            <a:ext cx="1985769" cy="258744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4" tIns="60952" rIns="121904" bIns="60952" rtlCol="0" anchor="ctr"/>
          <a:lstStyle/>
          <a:p>
            <a:pPr algn="ctr" defTabSz="1219020"/>
            <a:endParaRPr lang="fr-FR" sz="1100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8858357" y="3341519"/>
            <a:ext cx="1260655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371419" indent="0" algn="r">
              <a:buNone/>
              <a:defRPr/>
            </a:lvl2pPr>
            <a:lvl3pPr marL="742839" indent="0" algn="r">
              <a:buNone/>
              <a:defRPr/>
            </a:lvl3pPr>
            <a:lvl4pPr marL="1114257" indent="0" algn="r">
              <a:buNone/>
              <a:defRPr/>
            </a:lvl4pPr>
            <a:lvl5pPr marL="1485682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8859493" y="3914652"/>
            <a:ext cx="1258633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1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1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39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57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82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942719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2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7C652D5C-354E-4F95-9E27-AE103543BEA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0A1E24A-D422-49C8-BEA4-CE097042BCC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C3D40BBF-944A-416E-B91B-177D507055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30718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39846830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APL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xmlns="" id="{7AF59C7F-B8CA-4A9E-9002-DB7FA0A9DC50}"/>
              </a:ext>
            </a:extLst>
          </p:cNvPr>
          <p:cNvSpPr/>
          <p:nvPr userDrawn="1"/>
        </p:nvSpPr>
        <p:spPr>
          <a:xfrm>
            <a:off x="0" y="2387603"/>
            <a:ext cx="6096000" cy="4470399"/>
          </a:xfrm>
          <a:custGeom>
            <a:avLst/>
            <a:gdLst>
              <a:gd name="connsiteX0" fmla="*/ 0 w 6096000"/>
              <a:gd name="connsiteY0" fmla="*/ 0 h 4470399"/>
              <a:gd name="connsiteX1" fmla="*/ 6096000 w 6096000"/>
              <a:gd name="connsiteY1" fmla="*/ 0 h 4470399"/>
              <a:gd name="connsiteX2" fmla="*/ 6096000 w 6096000"/>
              <a:gd name="connsiteY2" fmla="*/ 4470399 h 4470399"/>
              <a:gd name="connsiteX3" fmla="*/ 0 w 6096000"/>
              <a:gd name="connsiteY3" fmla="*/ 4470399 h 447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4470399">
                <a:moveTo>
                  <a:pt x="0" y="0"/>
                </a:moveTo>
                <a:lnTo>
                  <a:pt x="6096000" y="0"/>
                </a:lnTo>
                <a:lnTo>
                  <a:pt x="6096000" y="4470399"/>
                </a:lnTo>
                <a:lnTo>
                  <a:pt x="0" y="44703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8EFC1F0-C777-4C30-97A6-D0218670454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2691823-A744-47E3-B88A-E3729559A96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C39EE73-D8D9-41FA-B8A6-E49888A68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30718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42541083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2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43F3B31-46E5-4369-B906-4C4F081A9F8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528044B-FC8F-4D4C-A450-E3037108D40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0102B91-0EB1-4125-A341-6FA39DC37BE0}" type="datetime1">
              <a:rPr lang="fr-FR" smtClean="0">
                <a:solidFill>
                  <a:prstClr val="white"/>
                </a:solidFill>
              </a:rPr>
              <a:pPr defTabSz="121917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85E6E4B5-D86D-4822-8FC8-7CE3723579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393282"/>
            <a:ext cx="4151085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337403371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xmlns="" id="{5C80AA35-0471-4203-B6C1-7866EE61ED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1306084" cy="5915219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xmlns="" id="{D2E6CB0B-970B-40B0-96E6-1EF9244A48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2107062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xmlns="" id="{A2F7116B-AFF5-4CEF-8363-908E28B67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1521274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494488A-93AD-44D5-A784-4A7BE3366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96F3BD23-9740-4E06-8CB8-575FEA355BE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DD9A66CE-D2FB-4120-9E2B-20D34E77008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346728B-F008-44A2-803D-AD096BFC1D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1890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0EF7202-CABE-48B8-9D8F-2838BAB6A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4C6B0E88-AA84-4823-AB4B-335B134487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99FD8C-C5FB-487A-B57A-EA7C5CDA875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E72C683-1160-4768-980E-BF3323862B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8592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8" y="1441188"/>
            <a:ext cx="10306879" cy="468132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32378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638C6941-90EF-482F-A340-4DC3EAB04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AC2821E-5880-4028-89E0-33241DD90FF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955E7FF-0469-41AA-A090-837574A1EE2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D226DB2-172A-4700-828F-F960B2037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39530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5041278-7EFF-4A3B-86F5-E47FF494F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6349CB34-ECFF-4CBD-A4ED-AC4CD1473E0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79C48CF-799C-498B-BF2E-5B492CE3BC1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7C90BEE6-A444-4342-808D-2947F2EE3A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10719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D2167A1-0CC8-407A-ADC6-E41D9248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575EED5D-C3C3-49FB-B3A6-C33B8B91DBC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2123D6B-C94F-4368-89FE-51095D3AD5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B7097614-4C4E-48CC-A8E5-E9EF8DD15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42539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5F425827-C777-4641-9D73-E99B91B45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BAE57E4B-19B1-4649-B10E-ECCCE6C3C4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B763885-C0F9-406A-91B6-7819A193A4F9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AEEA620D-A463-4452-A6FC-673B193CF6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77899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FA025740-A42B-4245-B379-045F2903F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F29D8C42-48F6-40B2-A0BF-F73E1F90010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3C15647-DAA7-4533-8CCB-401C2DAF57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F1E8993-ACF8-44DD-8A6B-E5A4C4EF6E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93258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16AB2E48-C4EA-4FD0-BC9C-1D23FAC68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D79A2E5-5F4C-4A2E-8B8A-7CC8637A83A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4328397-26C5-477D-99EB-51ADED1686B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286CEF6-0CDC-452D-B1FD-68106DE22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479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B9129676-F1A7-4BEF-AE8C-CEAFFAEB3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2092A64A-34B8-4C1B-A4C9-DD2DA811EC9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DE2937E-D5BC-42E4-B2F3-FFD0FAB9D85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B94CE990-D34A-4542-B0A0-7BDCA0417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1838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88240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251581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401059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387627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4D1F83DB-65DA-4D62-BEBF-E37AB744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E0770E61-974C-4DEC-9394-5E0D0392612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5AADB02-DCA7-4702-9AE0-51C128500B0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AC720E4-4105-47E6-B12A-12855991B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9374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3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EEC09ECA-7631-4E80-8398-EC973357D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2D400CE2-8287-46B5-8D92-C2D7EEFAE83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10B56F5-CAEE-4AEE-8268-2D572454202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8F3ABAF9-49A4-4F91-AC21-B058780C86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3929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4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406676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4066760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5605624" y="2575520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27001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419494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27001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419494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571985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xmlns="" id="{168A2226-2478-4DB6-BEC4-1185590D14BE}"/>
              </a:ext>
            </a:extLst>
          </p:cNvPr>
          <p:cNvCxnSpPr>
            <a:cxnSpLocks/>
          </p:cNvCxnSpPr>
          <p:nvPr userDrawn="1"/>
        </p:nvCxnSpPr>
        <p:spPr>
          <a:xfrm>
            <a:off x="371475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4305C75D-3A35-4E69-9F5E-1C8A2BF3D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5" name="Espace réservé de la date 3">
            <a:extLst>
              <a:ext uri="{FF2B5EF4-FFF2-40B4-BE49-F238E27FC236}">
                <a16:creationId xmlns:a16="http://schemas.microsoft.com/office/drawing/2014/main" xmlns="" id="{33E6B89B-6A15-4D57-B2E6-2AE412BF5A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E24CB04-1A40-4D08-9A61-EE1CCEAEC43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xmlns="" id="{1EB5BED6-B91D-4124-BD85-DB416808AF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2909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8" y="1272222"/>
            <a:ext cx="4439479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16431"/>
            <a:ext cx="7802219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434773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5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9"/>
            <a:ext cx="0" cy="2936583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1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327069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C9D944E-5974-44A4-AF8F-73C0D301C5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56ADF8D8-D6CD-468C-9C08-50F3F8FB9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11784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1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327069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4761494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9CFF3E6-37FC-4FBD-AC0E-878B7B9458D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17542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7"/>
            <a:ext cx="0" cy="3212353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5" y="4730797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1713748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2718803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37336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53B141A-0150-4973-8B45-73449F26F0C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4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800" y="3730209"/>
            <a:ext cx="756045" cy="661691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14976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5" y="4730797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1713748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2718803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37336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AFFE62F-A100-4B56-8494-B782AFA8E02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4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xmlns="" id="{BA68D562-F1C6-47A1-9649-4724F4D5E4C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566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800" y="3730209"/>
            <a:ext cx="756045" cy="661691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10088E53-F181-4EED-BB1A-525FB279D586}"/>
              </a:ext>
            </a:extLst>
          </p:cNvPr>
          <p:cNvSpPr txBox="1"/>
          <p:nvPr userDrawn="1"/>
        </p:nvSpPr>
        <p:spPr>
          <a:xfrm>
            <a:off x="5611132" y="4727369"/>
            <a:ext cx="764528" cy="661691"/>
          </a:xfrm>
          <a:custGeom>
            <a:avLst/>
            <a:gdLst/>
            <a:ahLst/>
            <a:cxnLst/>
            <a:rect l="l" t="t" r="r" b="b"/>
            <a:pathLst>
              <a:path w="764528" h="661690">
                <a:moveTo>
                  <a:pt x="551109" y="344686"/>
                </a:moveTo>
                <a:cubicBezTo>
                  <a:pt x="535035" y="344686"/>
                  <a:pt x="520078" y="347588"/>
                  <a:pt x="506237" y="353392"/>
                </a:cubicBezTo>
                <a:cubicBezTo>
                  <a:pt x="492396" y="359197"/>
                  <a:pt x="480490" y="367382"/>
                  <a:pt x="470518" y="377949"/>
                </a:cubicBezTo>
                <a:cubicBezTo>
                  <a:pt x="460547" y="388516"/>
                  <a:pt x="452733" y="401092"/>
                  <a:pt x="447078" y="415677"/>
                </a:cubicBezTo>
                <a:cubicBezTo>
                  <a:pt x="441422" y="430262"/>
                  <a:pt x="438595" y="446187"/>
                  <a:pt x="438595" y="463451"/>
                </a:cubicBezTo>
                <a:cubicBezTo>
                  <a:pt x="438595" y="481608"/>
                  <a:pt x="441273" y="497979"/>
                  <a:pt x="446631" y="512564"/>
                </a:cubicBezTo>
                <a:cubicBezTo>
                  <a:pt x="451989" y="527149"/>
                  <a:pt x="459579" y="539502"/>
                  <a:pt x="469402" y="549622"/>
                </a:cubicBezTo>
                <a:cubicBezTo>
                  <a:pt x="479225" y="559743"/>
                  <a:pt x="491056" y="567482"/>
                  <a:pt x="504897" y="572839"/>
                </a:cubicBezTo>
                <a:cubicBezTo>
                  <a:pt x="518739" y="578197"/>
                  <a:pt x="534142" y="580876"/>
                  <a:pt x="551109" y="580876"/>
                </a:cubicBezTo>
                <a:cubicBezTo>
                  <a:pt x="567480" y="580876"/>
                  <a:pt x="582511" y="578123"/>
                  <a:pt x="596204" y="572616"/>
                </a:cubicBezTo>
                <a:cubicBezTo>
                  <a:pt x="609896" y="567110"/>
                  <a:pt x="621728" y="559222"/>
                  <a:pt x="631699" y="548953"/>
                </a:cubicBezTo>
                <a:cubicBezTo>
                  <a:pt x="641671" y="538683"/>
                  <a:pt x="649484" y="526331"/>
                  <a:pt x="655139" y="511894"/>
                </a:cubicBezTo>
                <a:cubicBezTo>
                  <a:pt x="660795" y="497458"/>
                  <a:pt x="663623" y="481310"/>
                  <a:pt x="663623" y="463451"/>
                </a:cubicBezTo>
                <a:cubicBezTo>
                  <a:pt x="663623" y="447080"/>
                  <a:pt x="660944" y="431676"/>
                  <a:pt x="655586" y="417240"/>
                </a:cubicBezTo>
                <a:cubicBezTo>
                  <a:pt x="650228" y="402803"/>
                  <a:pt x="642638" y="390227"/>
                  <a:pt x="632815" y="379512"/>
                </a:cubicBezTo>
                <a:cubicBezTo>
                  <a:pt x="622993" y="368796"/>
                  <a:pt x="611161" y="360313"/>
                  <a:pt x="597320" y="354062"/>
                </a:cubicBezTo>
                <a:cubicBezTo>
                  <a:pt x="583479" y="347811"/>
                  <a:pt x="568075" y="344686"/>
                  <a:pt x="551109" y="344686"/>
                </a:cubicBezTo>
                <a:close/>
                <a:moveTo>
                  <a:pt x="550216" y="79921"/>
                </a:moveTo>
                <a:cubicBezTo>
                  <a:pt x="536821" y="79921"/>
                  <a:pt x="524617" y="82376"/>
                  <a:pt x="513604" y="87288"/>
                </a:cubicBezTo>
                <a:cubicBezTo>
                  <a:pt x="502591" y="92199"/>
                  <a:pt x="493140" y="98971"/>
                  <a:pt x="485252" y="107603"/>
                </a:cubicBezTo>
                <a:cubicBezTo>
                  <a:pt x="477364" y="116235"/>
                  <a:pt x="471262" y="126281"/>
                  <a:pt x="466946" y="137740"/>
                </a:cubicBezTo>
                <a:cubicBezTo>
                  <a:pt x="462630" y="149200"/>
                  <a:pt x="460472" y="161330"/>
                  <a:pt x="460472" y="174129"/>
                </a:cubicBezTo>
                <a:cubicBezTo>
                  <a:pt x="460472" y="187523"/>
                  <a:pt x="462854" y="199951"/>
                  <a:pt x="467616" y="211410"/>
                </a:cubicBezTo>
                <a:cubicBezTo>
                  <a:pt x="472379" y="222870"/>
                  <a:pt x="478778" y="232842"/>
                  <a:pt x="486815" y="241325"/>
                </a:cubicBezTo>
                <a:cubicBezTo>
                  <a:pt x="494852" y="249808"/>
                  <a:pt x="504302" y="256431"/>
                  <a:pt x="515167" y="261193"/>
                </a:cubicBezTo>
                <a:cubicBezTo>
                  <a:pt x="526031" y="265956"/>
                  <a:pt x="537714" y="268337"/>
                  <a:pt x="550216" y="268337"/>
                </a:cubicBezTo>
                <a:cubicBezTo>
                  <a:pt x="562717" y="268337"/>
                  <a:pt x="574400" y="265881"/>
                  <a:pt x="585265" y="260970"/>
                </a:cubicBezTo>
                <a:cubicBezTo>
                  <a:pt x="596129" y="256059"/>
                  <a:pt x="605654" y="249362"/>
                  <a:pt x="613840" y="240878"/>
                </a:cubicBezTo>
                <a:cubicBezTo>
                  <a:pt x="622025" y="232395"/>
                  <a:pt x="628499" y="222424"/>
                  <a:pt x="633262" y="210964"/>
                </a:cubicBezTo>
                <a:cubicBezTo>
                  <a:pt x="638024" y="199504"/>
                  <a:pt x="640406" y="187226"/>
                  <a:pt x="640406" y="174129"/>
                </a:cubicBezTo>
                <a:cubicBezTo>
                  <a:pt x="640406" y="160734"/>
                  <a:pt x="638099" y="148233"/>
                  <a:pt x="633485" y="136624"/>
                </a:cubicBezTo>
                <a:cubicBezTo>
                  <a:pt x="628871" y="125016"/>
                  <a:pt x="622546" y="115044"/>
                  <a:pt x="614509" y="106710"/>
                </a:cubicBezTo>
                <a:cubicBezTo>
                  <a:pt x="606473" y="98375"/>
                  <a:pt x="596948" y="91827"/>
                  <a:pt x="585934" y="87064"/>
                </a:cubicBezTo>
                <a:cubicBezTo>
                  <a:pt x="574921" y="82302"/>
                  <a:pt x="563015" y="79921"/>
                  <a:pt x="550216" y="79921"/>
                </a:cubicBezTo>
                <a:close/>
                <a:moveTo>
                  <a:pt x="549769" y="0"/>
                </a:moveTo>
                <a:cubicBezTo>
                  <a:pt x="577451" y="0"/>
                  <a:pt x="602975" y="4167"/>
                  <a:pt x="626341" y="12502"/>
                </a:cubicBezTo>
                <a:cubicBezTo>
                  <a:pt x="649707" y="20836"/>
                  <a:pt x="669948" y="32296"/>
                  <a:pt x="687063" y="46881"/>
                </a:cubicBezTo>
                <a:cubicBezTo>
                  <a:pt x="704178" y="61466"/>
                  <a:pt x="717499" y="78730"/>
                  <a:pt x="727024" y="98673"/>
                </a:cubicBezTo>
                <a:cubicBezTo>
                  <a:pt x="736549" y="118616"/>
                  <a:pt x="741311" y="140196"/>
                  <a:pt x="741311" y="163413"/>
                </a:cubicBezTo>
                <a:cubicBezTo>
                  <a:pt x="741311" y="192881"/>
                  <a:pt x="733125" y="219745"/>
                  <a:pt x="716754" y="244004"/>
                </a:cubicBezTo>
                <a:cubicBezTo>
                  <a:pt x="700383" y="268263"/>
                  <a:pt x="678654" y="288131"/>
                  <a:pt x="651568" y="303609"/>
                </a:cubicBezTo>
                <a:cubicBezTo>
                  <a:pt x="670022" y="310753"/>
                  <a:pt x="686319" y="320055"/>
                  <a:pt x="700458" y="331515"/>
                </a:cubicBezTo>
                <a:cubicBezTo>
                  <a:pt x="714596" y="342974"/>
                  <a:pt x="726428" y="355997"/>
                  <a:pt x="735953" y="370582"/>
                </a:cubicBezTo>
                <a:cubicBezTo>
                  <a:pt x="745478" y="385167"/>
                  <a:pt x="752622" y="401092"/>
                  <a:pt x="757384" y="418356"/>
                </a:cubicBezTo>
                <a:cubicBezTo>
                  <a:pt x="762147" y="435620"/>
                  <a:pt x="764528" y="453628"/>
                  <a:pt x="764528" y="472380"/>
                </a:cubicBezTo>
                <a:cubicBezTo>
                  <a:pt x="764528" y="500360"/>
                  <a:pt x="759319" y="525959"/>
                  <a:pt x="748901" y="549176"/>
                </a:cubicBezTo>
                <a:cubicBezTo>
                  <a:pt x="738483" y="572393"/>
                  <a:pt x="723898" y="592262"/>
                  <a:pt x="705146" y="608781"/>
                </a:cubicBezTo>
                <a:cubicBezTo>
                  <a:pt x="686393" y="625301"/>
                  <a:pt x="663920" y="638175"/>
                  <a:pt x="637727" y="647402"/>
                </a:cubicBezTo>
                <a:cubicBezTo>
                  <a:pt x="611533" y="656630"/>
                  <a:pt x="582660" y="661243"/>
                  <a:pt x="551109" y="661243"/>
                </a:cubicBezTo>
                <a:cubicBezTo>
                  <a:pt x="519855" y="661243"/>
                  <a:pt x="491205" y="656630"/>
                  <a:pt x="465160" y="647402"/>
                </a:cubicBezTo>
                <a:cubicBezTo>
                  <a:pt x="439115" y="638175"/>
                  <a:pt x="416642" y="625301"/>
                  <a:pt x="397741" y="608781"/>
                </a:cubicBezTo>
                <a:cubicBezTo>
                  <a:pt x="378840" y="592262"/>
                  <a:pt x="364106" y="572393"/>
                  <a:pt x="353539" y="549176"/>
                </a:cubicBezTo>
                <a:cubicBezTo>
                  <a:pt x="342972" y="525959"/>
                  <a:pt x="337689" y="500360"/>
                  <a:pt x="337689" y="472380"/>
                </a:cubicBezTo>
                <a:cubicBezTo>
                  <a:pt x="337689" y="453926"/>
                  <a:pt x="339996" y="436066"/>
                  <a:pt x="344610" y="418802"/>
                </a:cubicBezTo>
                <a:cubicBezTo>
                  <a:pt x="349223" y="401538"/>
                  <a:pt x="356144" y="385614"/>
                  <a:pt x="365371" y="371029"/>
                </a:cubicBezTo>
                <a:cubicBezTo>
                  <a:pt x="374598" y="356443"/>
                  <a:pt x="386207" y="343347"/>
                  <a:pt x="400197" y="331738"/>
                </a:cubicBezTo>
                <a:cubicBezTo>
                  <a:pt x="414187" y="320129"/>
                  <a:pt x="430558" y="310753"/>
                  <a:pt x="449310" y="303609"/>
                </a:cubicBezTo>
                <a:cubicBezTo>
                  <a:pt x="421628" y="288131"/>
                  <a:pt x="399602" y="268263"/>
                  <a:pt x="383231" y="244004"/>
                </a:cubicBezTo>
                <a:cubicBezTo>
                  <a:pt x="366859" y="219745"/>
                  <a:pt x="358674" y="192881"/>
                  <a:pt x="358674" y="163413"/>
                </a:cubicBezTo>
                <a:cubicBezTo>
                  <a:pt x="358674" y="139898"/>
                  <a:pt x="363511" y="118170"/>
                  <a:pt x="373185" y="98227"/>
                </a:cubicBezTo>
                <a:cubicBezTo>
                  <a:pt x="382858" y="78284"/>
                  <a:pt x="396253" y="61020"/>
                  <a:pt x="413368" y="46434"/>
                </a:cubicBezTo>
                <a:cubicBezTo>
                  <a:pt x="430483" y="31849"/>
                  <a:pt x="450650" y="20464"/>
                  <a:pt x="473867" y="12278"/>
                </a:cubicBezTo>
                <a:cubicBezTo>
                  <a:pt x="497084" y="4093"/>
                  <a:pt x="522385" y="0"/>
                  <a:pt x="549769" y="0"/>
                </a:cubicBez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74546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1644BA6-F1B0-4959-8AED-0854FCD61CF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xmlns="" id="{A7CA037B-8857-4C53-8EAB-EDD558ADF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03" y="1512743"/>
            <a:ext cx="10937872" cy="40462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367369B-417F-40FB-99A2-E10AEF792B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F94117B4-6B84-4BF8-91AB-035F88594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6368284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PROJ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CD4C7E74-C453-45AC-AC94-C7FE2D559C59}"/>
              </a:ext>
            </a:extLst>
          </p:cNvPr>
          <p:cNvSpPr txBox="1"/>
          <p:nvPr userDrawn="1"/>
        </p:nvSpPr>
        <p:spPr>
          <a:xfrm>
            <a:off x="1341120" y="2105563"/>
            <a:ext cx="9509760" cy="2646879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algn="ctr" defTabSz="1219170"/>
            <a:r>
              <a:rPr lang="fr-FR" sz="16700" dirty="0">
                <a:solidFill>
                  <a:prstClr val="white">
                    <a:lumMod val="95000"/>
                  </a:prstClr>
                </a:solidFill>
              </a:rPr>
              <a:t>PROJET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2" y="1879602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94529E0-E95C-4DF8-ADC9-FF4481C97AA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683575-36AF-4D09-81B6-6B1B7BB89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15138628-8A7F-4635-B3F7-426426462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0778574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CONFIDEN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2" y="1879602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9CFB19-F573-472E-918C-64F2EAE932C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BBA8B754-8573-4A77-8067-2C923206FF45}"/>
              </a:ext>
            </a:extLst>
          </p:cNvPr>
          <p:cNvSpPr txBox="1"/>
          <p:nvPr userDrawn="1"/>
        </p:nvSpPr>
        <p:spPr>
          <a:xfrm>
            <a:off x="716280" y="2644171"/>
            <a:ext cx="10759440" cy="1569660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algn="ctr" defTabSz="1219170"/>
            <a:r>
              <a:rPr lang="fr-FR" sz="9600" dirty="0">
                <a:solidFill>
                  <a:prstClr val="white">
                    <a:lumMod val="95000"/>
                  </a:prstClr>
                </a:solidFill>
              </a:rPr>
              <a:t>CONFIDENTIEL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C2CD7F9A-402E-429F-8F84-77F22BC24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09F7F5B4-36CA-410D-8404-46E3795E2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41739421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BB7F23-5988-412E-86D9-81DE08FD0B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D74337E-6E73-4EAB-99AC-39F61A3C76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29277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IMPL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rgbClr val="597F6D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BB7F23-5988-412E-86D9-81DE08FD0B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D74337E-6E73-4EAB-99AC-39F61A3C76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51762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5F8E201-2DB0-4523-81F4-CF3F71D4C84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F8F19E19-68CD-49AB-9754-6A7CCA40E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4227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44061" y="736909"/>
            <a:ext cx="10519507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8" y="1272222"/>
            <a:ext cx="4439479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253369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9245059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74A49C26-296F-4650-B0D8-82FFD3131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10816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73187AA-5075-48AC-A2EC-FB001127159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DED61E90-8286-4ED3-8568-5477E1F847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0067" y="275243"/>
            <a:ext cx="1153584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545658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6EA4DF2-3DF5-4B40-8DF8-95D0EB4F20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A60784C-F81B-43EB-A4E6-8EEB422595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66347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SAUM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2E8086F-DB33-4166-971A-2D85E292A9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5387DC19-F771-4D83-B928-120E36FF3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82387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17EC45D-EABF-479D-AD65-D1C4621E80B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DBD17E9-24FF-46A9-9B2D-A1893ABE76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18111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1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5" y="657226"/>
            <a:ext cx="5384799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2"/>
            <a:ext cx="5384800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F69826D-EDD5-41C8-97B5-A9DC983A9B5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7602" y="1028471"/>
            <a:ext cx="1823951" cy="1823951"/>
          </a:xfr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A12BF44C-2B46-485B-A639-8F8595FCB1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3049" y="3055620"/>
            <a:ext cx="3513051" cy="2240280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836A1F14-B48D-439C-9E67-9A47F1B3D8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5889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5" y="657226"/>
            <a:ext cx="5384799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2"/>
            <a:ext cx="6718299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60F9ED0-8671-42BB-BF4E-364C34B41E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81901" y="809625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xmlns="" id="{77B2FE61-0C22-4D36-A924-135A84743A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6224" y="809625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xmlns="" id="{C9052613-25C8-437B-BC4A-06FF08BC3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1901" y="20661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xmlns="" id="{4B178C7D-F1AC-4431-982C-69EC09DE99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76224" y="20661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xmlns="" id="{3BFDAF50-B2F7-441D-897F-A91F0733815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581901" y="33226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3">
            <a:extLst>
              <a:ext uri="{FF2B5EF4-FFF2-40B4-BE49-F238E27FC236}">
                <a16:creationId xmlns:a16="http://schemas.microsoft.com/office/drawing/2014/main" xmlns="" id="{47B54CFE-4903-4F70-A159-08F044B656E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76224" y="33226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3">
            <a:extLst>
              <a:ext uri="{FF2B5EF4-FFF2-40B4-BE49-F238E27FC236}">
                <a16:creationId xmlns:a16="http://schemas.microsoft.com/office/drawing/2014/main" xmlns="" id="{817CB54D-1AD2-4936-B1D1-9B1D374B17D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81901" y="4579120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B8E550A9-3CF4-470C-B94C-6CF8EC6CDCB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76224" y="4579120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B35536D8-EE9D-426B-9AE8-4F9A5147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860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40" y="286681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3" y="805483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80"/>
            <a:ext cx="2231796" cy="1478643"/>
          </a:xfrm>
          <a:solidFill>
            <a:schemeClr val="bg2"/>
          </a:solidFill>
        </p:spPr>
        <p:txBody>
          <a:bodyPr lIns="359982" tIns="359982" rIns="359982" bIns="359982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2973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151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C618B6D-0F0F-413F-886D-2859A5B3C0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23CEB73-9E1C-40C3-AB9C-D081D76ED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50389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40" y="286681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3" y="805483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80"/>
            <a:ext cx="2231796" cy="1478643"/>
          </a:xfrm>
          <a:solidFill>
            <a:schemeClr val="accent5"/>
          </a:solidFill>
        </p:spPr>
        <p:txBody>
          <a:bodyPr lIns="359982" tIns="359982" rIns="359982" bIns="359982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2973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151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108E006-CCE9-4FDE-AB8F-939FD05AA6D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EA5D0C3-F7E4-468C-90E5-D779F92960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56596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4 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1036488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xmlns="" id="{2C76294A-1998-4304-B770-CFCF7E4AF6DD}"/>
              </a:ext>
            </a:extLst>
          </p:cNvPr>
          <p:cNvGrpSpPr/>
          <p:nvPr userDrawn="1"/>
        </p:nvGrpSpPr>
        <p:grpSpPr>
          <a:xfrm>
            <a:off x="980708" y="1653896"/>
            <a:ext cx="2771411" cy="4193144"/>
            <a:chOff x="4618653" y="2171908"/>
            <a:chExt cx="2938924" cy="4446592"/>
          </a:xfrm>
        </p:grpSpPr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xmlns="" id="{8B4151C9-1F90-423E-A0E4-162D8FC57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xmlns="" id="{7D42B985-C58B-4203-BC88-CDEBF62EEC44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Espace réservé pour une image  13">
            <a:extLst>
              <a:ext uri="{FF2B5EF4-FFF2-40B4-BE49-F238E27FC236}">
                <a16:creationId xmlns:a16="http://schemas.microsoft.com/office/drawing/2014/main" xmlns="" id="{FD2AA9AA-BE97-421C-AD50-433ED59B36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76863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72630C35-AE06-4C29-A0C4-BBBC74B4BC19}"/>
              </a:ext>
            </a:extLst>
          </p:cNvPr>
          <p:cNvGrpSpPr/>
          <p:nvPr userDrawn="1"/>
        </p:nvGrpSpPr>
        <p:grpSpPr>
          <a:xfrm>
            <a:off x="3464289" y="1653896"/>
            <a:ext cx="2771411" cy="4193144"/>
            <a:chOff x="4618653" y="2171908"/>
            <a:chExt cx="2938924" cy="4446592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xmlns="" id="{93A61531-9990-4B27-9208-1B6B888ED0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xmlns="" id="{405D35F2-86F6-44F5-9053-D9952AB4BE91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2" name="Espace réservé pour une image  13">
            <a:extLst>
              <a:ext uri="{FF2B5EF4-FFF2-40B4-BE49-F238E27FC236}">
                <a16:creationId xmlns:a16="http://schemas.microsoft.com/office/drawing/2014/main" xmlns="" id="{66670318-6609-48D0-8B6A-9AA383DB4C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0445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xmlns="" id="{D28E1024-3750-4AF3-BD15-C1776FF8DDBE}"/>
              </a:ext>
            </a:extLst>
          </p:cNvPr>
          <p:cNvGrpSpPr/>
          <p:nvPr userDrawn="1"/>
        </p:nvGrpSpPr>
        <p:grpSpPr>
          <a:xfrm>
            <a:off x="5957496" y="1653896"/>
            <a:ext cx="2771411" cy="4193144"/>
            <a:chOff x="4618653" y="2171908"/>
            <a:chExt cx="2938924" cy="4446592"/>
          </a:xfrm>
        </p:grpSpPr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xmlns="" id="{D8450ECB-002C-4424-A6B5-C6994A1C4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xmlns="" id="{AB1661DF-5F8F-4901-8287-BC1B82ECDF15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6" name="Espace réservé pour une image  13">
            <a:extLst>
              <a:ext uri="{FF2B5EF4-FFF2-40B4-BE49-F238E27FC236}">
                <a16:creationId xmlns:a16="http://schemas.microsoft.com/office/drawing/2014/main" xmlns="" id="{382893CA-CF82-43AA-A5BF-6E4D4B0D66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53651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xmlns="" id="{A952395F-6661-453F-929E-174D6751537F}"/>
              </a:ext>
            </a:extLst>
          </p:cNvPr>
          <p:cNvGrpSpPr/>
          <p:nvPr userDrawn="1"/>
        </p:nvGrpSpPr>
        <p:grpSpPr>
          <a:xfrm>
            <a:off x="8451388" y="1653896"/>
            <a:ext cx="2771411" cy="4193144"/>
            <a:chOff x="4618653" y="2171908"/>
            <a:chExt cx="2938924" cy="4446592"/>
          </a:xfrm>
        </p:grpSpPr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xmlns="" id="{60884718-3B21-4C78-BE0E-749884421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xmlns="" id="{1464A2B0-EA8E-4A91-B711-95365C974A10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Espace réservé pour une image  13">
            <a:extLst>
              <a:ext uri="{FF2B5EF4-FFF2-40B4-BE49-F238E27FC236}">
                <a16:creationId xmlns:a16="http://schemas.microsoft.com/office/drawing/2014/main" xmlns="" id="{93844F57-D704-4B20-902F-95C6CB2011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47543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E0AF8F31-74D8-47B0-9C69-E01A950D1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4" name="Espace réservé de la date 3">
            <a:extLst>
              <a:ext uri="{FF2B5EF4-FFF2-40B4-BE49-F238E27FC236}">
                <a16:creationId xmlns:a16="http://schemas.microsoft.com/office/drawing/2014/main" xmlns="" id="{E12E81F9-23C3-491A-9DED-3E33876A5CA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D977E081-0F91-4EA2-99B4-DB5B6335F47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1" name="Espace réservé du pied de page 4">
            <a:extLst>
              <a:ext uri="{FF2B5EF4-FFF2-40B4-BE49-F238E27FC236}">
                <a16:creationId xmlns:a16="http://schemas.microsoft.com/office/drawing/2014/main" xmlns="" id="{383F448C-30B7-4993-9FD7-B88FD1C1C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269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34290" y="725561"/>
            <a:ext cx="10419521" cy="12641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885509" y="933411"/>
            <a:ext cx="7284515" cy="8595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123133" y="3456945"/>
            <a:ext cx="2608815" cy="245733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103248" y="937277"/>
            <a:ext cx="2628693" cy="230794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3885509" y="2228281"/>
            <a:ext cx="7284515" cy="36859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888256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4CD7BEF6-BE2A-473E-AD34-D67B3DD49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851F5E09-6B46-428A-A166-AD40B0455D7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65C7FCF-9F83-44D4-85D0-07C9F1F44F1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DEC718EC-4C3B-499E-94DB-2AD4DB80A5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13838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A699C0B1-4B67-446C-86D6-A334CC8E1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1B55442C-5E45-44D7-99AE-2C586736795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44C6B1F-D16A-422D-A123-3EA857EC2B0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39D73DE9-D449-4D70-A8EE-1B7BC5E9C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3510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24BE967-7184-40D9-AB8B-2859B9EF7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0F6A860-FBAF-4703-BCC5-9A8FDBF506D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2712D04-47BE-40CD-84CA-E58F99A4CEA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69400311-FF09-4B92-BB88-4A3EBEE777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30459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94FEA76-69BB-4A89-932E-74D9EE41E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5A8F8A98-72A2-4D8B-A808-EFE5A2669C8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5815BCE-5C2A-4816-908F-F7ED273BCDD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888AD6FB-6112-42A5-975D-6BE11DF82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94444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EA79DE3C-41A1-4554-BCAF-E9267D886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ABFC8D4-6CA7-49C7-9BCB-1B5A144C37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538E78-9AD1-44EE-AD1A-16EF9EF4A24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F82DD4B-7F4F-43B7-81E9-90FF0A6249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05267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40DDB657-1B87-4D1F-8E3F-963706EC3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24809C26-123E-42EF-9F79-19CE2341BE2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FB5B5E9-BF69-4E22-9C89-7979B0BBB5B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29C5580-BF69-4CAA-9D27-9D1381DAA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49209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5A307CB-BE33-45E6-85CF-317C6FB3A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640A224F-0E19-4286-BAF7-AFDC38ECCC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CDCF0F1-9CEE-41E4-B2C6-A2074347549D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70B47C3B-B28A-436B-9CA0-0D846F46E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13942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B78E957E-A8D4-4AD4-8218-CA20D9811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0131F4AA-9A37-4D2B-B8EC-2294F470352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0A61D0A-79A4-4C40-BF21-16C95F862E4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4F16161-35CD-4D60-BEC5-683735BE09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7734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839DC47-7B58-4209-9CF2-E8BAA25B3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A5803B5A-F009-45F6-A2A9-4FFD9AEDE80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CEE4F3C-6D48-4CAA-8FAE-9DA8A2A8F24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A50E0C5F-CD22-463B-BCCF-C116AA23E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922DE014-48C6-4BD3-BA9D-44C4F168F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41732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11E211B-4164-4B86-8C4D-387492CBB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C31097D-3566-49AC-A04C-8968DEA3749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DFC69CF-9E46-4AB3-B3B5-62781D3A5D6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4252A59D-3BD1-4F65-BC36-2D515DA61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5CABD64-8FB7-4F47-AF89-E9983B7638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7936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81" y="951370"/>
            <a:ext cx="5533299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1" y="2064517"/>
            <a:ext cx="5533299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xmlns="" id="{169DFE53-A37A-0C48-840C-800FC24412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89580" y="945837"/>
            <a:ext cx="4654463" cy="139289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xmlns="" id="{09F1D3CC-F123-6E44-B531-60B32B020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89579" y="2467788"/>
            <a:ext cx="4654463" cy="141960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89569" y="425948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69817" y="4090132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>
            <a:extLst>
              <a:ext uri="{FF2B5EF4-FFF2-40B4-BE49-F238E27FC236}">
                <a16:creationId xmlns:a16="http://schemas.microsoft.com/office/drawing/2014/main" xmlns="" id="{C448B7BC-85A6-EE4F-A616-FBEBB166FBB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99341" y="48926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5" name="Espace réservé du texte 10">
            <a:extLst>
              <a:ext uri="{FF2B5EF4-FFF2-40B4-BE49-F238E27FC236}">
                <a16:creationId xmlns:a16="http://schemas.microsoft.com/office/drawing/2014/main" xmlns="" id="{7B3AC243-6026-FD4E-B079-12E5C6FA93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79587" y="4723247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pour une image  7">
            <a:extLst>
              <a:ext uri="{FF2B5EF4-FFF2-40B4-BE49-F238E27FC236}">
                <a16:creationId xmlns:a16="http://schemas.microsoft.com/office/drawing/2014/main" xmlns="" id="{CA1FE1D8-51AF-E442-95A4-A566E0C12EF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99341" y="5528432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10">
            <a:extLst>
              <a:ext uri="{FF2B5EF4-FFF2-40B4-BE49-F238E27FC236}">
                <a16:creationId xmlns:a16="http://schemas.microsoft.com/office/drawing/2014/main" xmlns="" id="{FE834414-624E-9E46-90C3-54C34C3B2E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9587" y="5359080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3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05" y="188248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2790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250E82C4-1AC0-4559-A368-B396F25BE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24B2044-566B-4656-8CFC-BDC0AE86A9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10DFE96-6C9F-4904-B4C4-CBDC0990F7C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97E83193-303E-43A0-B6AA-BAD515CF33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F2FE5864-3720-4778-94BB-C1B5671BC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75834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BB141C0E-1A82-43A0-9E9B-D37BDFE7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890975AB-1C69-4A6E-B66F-B928B3F06DC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AB3946B-FD33-4C79-B853-FE66A177258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5E108138-D32B-42E4-B836-B9E573A87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8FDC78F-F498-4444-B2C4-40D59900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99151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9F8C425-BF28-4E9B-8F8C-27CDA4E7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0BC1AD1D-32F4-4B06-BA63-7D8417220F8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1ABB327-7F38-436A-A138-1FE4F14F5FE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F675A3C2-F9AB-427C-B36A-6CA47876C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A0BA483-8925-4A8E-8C79-653D3D5A1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54743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2CC4AC4-A788-41E6-B400-9FBCC1F84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96EDFA13-ADCB-486A-83E1-0524579E34D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408C17B-2904-4675-8D0E-B27E17A69C2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CCD462F6-B11F-4ADA-BDCA-0B2313B70B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A01F6D-A186-4DD7-99B3-CD2F75D8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02868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5DF75C4-E2FA-414F-8F29-03A2A76D7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2A36F32-79DE-4FB9-B935-41DCF6621E7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DF98270-76CE-4ED5-8C46-7C34CC3A0B7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37BF16-7CAC-4D4C-B700-14A7A6D6E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84373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908C14AC-3CAC-4DDD-85D9-286C82FCD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2D22649-B211-44FB-BB22-36CF1EC37D5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F75A214-5EC4-4C30-B37B-77D74517503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9D9A25-3E3C-4211-9D10-86256EA8F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8822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0050271-E5BE-4D70-BFFE-38431AD9E9A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5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6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7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6160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EFDB560-ACC1-4D6F-AC62-32180F4461A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5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6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7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2032471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781069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B9E4891-5471-4FCB-ADA6-40FBC2C3D75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2365829"/>
            <a:ext cx="2434244" cy="3547291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5851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C660BEC-19D4-4FBF-AFB6-49EBDF58C5C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9D1C24EF-D7D4-4DC2-BDB9-6CE2D4F8C6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44535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2AEFB79C-6151-4544-93E3-18D075BE9B5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43286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4A431409-AEDE-442A-8F97-6251763486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2035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FD5046F-4298-494A-8B51-218080C09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40787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4748448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77" y="951370"/>
            <a:ext cx="5964371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1" y="2064517"/>
            <a:ext cx="5964371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054284" y="953532"/>
            <a:ext cx="882095" cy="70902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760" y="945837"/>
            <a:ext cx="3251808" cy="307989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3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05" y="188248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92160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0EA477-C128-472C-90A6-0189442E493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6914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35666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4415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33167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914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5666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4415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33167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36914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35666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34415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37887" y="1595883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781930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9573" y="2179124"/>
            <a:ext cx="4102211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6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976970" y="1879601"/>
            <a:ext cx="4647420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0217" y="2179124"/>
            <a:ext cx="4102211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6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6567614" y="1879601"/>
            <a:ext cx="4647420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7303" y="1780975"/>
            <a:ext cx="1906752" cy="207749"/>
          </a:xfrm>
          <a:solidFill>
            <a:schemeClr val="bg1"/>
          </a:solidFill>
        </p:spPr>
        <p:txBody>
          <a:bodyPr vert="horz" wrap="squar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37947" y="1782691"/>
            <a:ext cx="1906752" cy="207749"/>
          </a:xfrm>
          <a:solidFill>
            <a:schemeClr val="bg1"/>
          </a:solidFill>
        </p:spPr>
        <p:txBody>
          <a:bodyPr wrap="squar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D7FB2E8-0C6C-49DC-8B0A-39C9FC718A3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620D52A-0CDF-4DD5-99A8-8A00B2D9D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49296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9909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6848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8608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4335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7307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81822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27608" y="1780975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algn="ctr"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76307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25004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1E48765A-689D-417A-B205-42E7565BA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36D33941-DC46-46CB-BDDE-A1B814B59AC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0163C33-2D0A-49C8-A411-B91090E4D09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xmlns="" id="{23C5D678-C990-44AE-9DFD-7A30E8BA9C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65380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0495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9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6612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3167595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12728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963711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08843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8759826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007" y="1780975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8123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4239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10352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18F260CF-BB61-46DE-A37E-2025C421D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53768FA1-ACA5-4750-928A-17060828453E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57A5FC0-0A7B-4D47-BFB3-BDD2367B68B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xmlns="" id="{A1F73ADC-9A9C-419D-AB64-9F526682F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48757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5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867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504827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05648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2779608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727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022684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23511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7297470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03247" y="1780974"/>
            <a:ext cx="751901" cy="238903"/>
          </a:xfrm>
          <a:solidFill>
            <a:schemeClr val="bg1"/>
          </a:solidFill>
        </p:spPr>
        <p:txBody>
          <a:bodyPr vert="horz" wrap="none" lIns="143992" tIns="35998" rIns="143992" bIns="35998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2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1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5355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8434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3217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321467ED-4221-4B7D-9F6F-F032B12914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97771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A233268-5577-464C-ADBD-669E59C91B8B}"/>
              </a:ext>
            </a:extLst>
          </p:cNvPr>
          <p:cNvSpPr/>
          <p:nvPr userDrawn="1"/>
        </p:nvSpPr>
        <p:spPr>
          <a:xfrm>
            <a:off x="9571730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587FB0BE-1A02-4E5D-A3B2-37D4FC2394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37477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4" name="Espace réservé du numéro de diapositive 5">
            <a:extLst>
              <a:ext uri="{FF2B5EF4-FFF2-40B4-BE49-F238E27FC236}">
                <a16:creationId xmlns:a16="http://schemas.microsoft.com/office/drawing/2014/main" xmlns="" id="{EA0FC403-A8DF-43F1-8C26-9DCA4FBCF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5" name="Espace réservé de la date 3">
            <a:extLst>
              <a:ext uri="{FF2B5EF4-FFF2-40B4-BE49-F238E27FC236}">
                <a16:creationId xmlns:a16="http://schemas.microsoft.com/office/drawing/2014/main" xmlns="" id="{553741E0-271C-436E-ABD6-FA321384D65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382903D-C376-4E4D-AB0D-22000396EBE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pied de page 4">
            <a:extLst>
              <a:ext uri="{FF2B5EF4-FFF2-40B4-BE49-F238E27FC236}">
                <a16:creationId xmlns:a16="http://schemas.microsoft.com/office/drawing/2014/main" xmlns="" id="{D27EEDC4-D15C-4687-9736-24E43ECE9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1527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6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01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200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1201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3899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78688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14199" y="1484956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2899" y="1486674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11596" y="1486674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D94E3463-9ACA-4049-939B-F27A7DE04C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6501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50377FF-25D5-4799-89B6-E6BCD8E32BE7}"/>
              </a:ext>
            </a:extLst>
          </p:cNvPr>
          <p:cNvSpPr/>
          <p:nvPr userDrawn="1"/>
        </p:nvSpPr>
        <p:spPr>
          <a:xfrm>
            <a:off x="3714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895C22A-334A-45F8-932B-AD212BA6AD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15200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A432CB35-F286-4D72-9CC6-361EC6A0BB5F}"/>
              </a:ext>
            </a:extLst>
          </p:cNvPr>
          <p:cNvSpPr/>
          <p:nvPr userDrawn="1"/>
        </p:nvSpPr>
        <p:spPr>
          <a:xfrm>
            <a:off x="41201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FD034F29-877D-42C2-8352-1CB749A316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3899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E73DB45-2E9B-4665-B4E8-5639E5CE647F}"/>
              </a:ext>
            </a:extLst>
          </p:cNvPr>
          <p:cNvSpPr/>
          <p:nvPr userDrawn="1"/>
        </p:nvSpPr>
        <p:spPr>
          <a:xfrm>
            <a:off x="78688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BD8D115A-981D-4FC4-8DCF-D948FCF20E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14199" y="3698031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3B60C83A-E06D-4227-835F-BC47A67D79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62899" y="3699748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1E36E258-E285-4328-8895-C4D31AA53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11596" y="3699748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2" name="Espace réservé du numéro de diapositive 5">
            <a:extLst>
              <a:ext uri="{FF2B5EF4-FFF2-40B4-BE49-F238E27FC236}">
                <a16:creationId xmlns:a16="http://schemas.microsoft.com/office/drawing/2014/main" xmlns="" id="{9A025995-109B-46D3-AC52-D7A1F6005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3" name="Espace réservé de la date 3">
            <a:extLst>
              <a:ext uri="{FF2B5EF4-FFF2-40B4-BE49-F238E27FC236}">
                <a16:creationId xmlns:a16="http://schemas.microsoft.com/office/drawing/2014/main" xmlns="" id="{19A1180D-1118-4BF7-A2E3-96C2E6301AB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A82EEA7-80B3-4966-916B-0DDE46CAA0C2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5C17D925-A7B1-458F-A1E9-A346AB688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6851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2"/>
            <a:ext cx="4820919" cy="34163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83062B0E-A600-4835-9DFC-73F1A1B8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B0ED8801-5D98-4A55-B77F-7A8F2011D57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08AFE9C-1FA2-4738-857A-427828C1B06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C2B70E01-CF54-44D4-BC26-1F3205B1B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26997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6" y="4216002"/>
            <a:ext cx="4817744" cy="1706751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1"/>
            <a:ext cx="4820919" cy="1981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178" y="4119053"/>
            <a:ext cx="1162847" cy="193899"/>
          </a:xfrm>
          <a:solidFill>
            <a:schemeClr val="bg1"/>
          </a:solidFill>
        </p:spPr>
        <p:txBody>
          <a:bodyPr vert="horz" wrap="none" lIns="143992" tIns="0" rIns="143992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5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8E0F355-0068-4476-917E-2D06677C643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61398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523" y="4042478"/>
            <a:ext cx="5256000" cy="1560913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0"/>
            <a:ext cx="4820919" cy="372378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30099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0223" y="3945529"/>
            <a:ext cx="1162847" cy="193899"/>
          </a:xfrm>
          <a:solidFill>
            <a:schemeClr val="bg1"/>
          </a:solidFill>
        </p:spPr>
        <p:txBody>
          <a:bodyPr vert="horz" wrap="none" lIns="143992" tIns="0" rIns="143992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5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C307C9E-02F3-4585-BCF9-CA1E3D28B30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8893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3" y="3429000"/>
            <a:ext cx="2493751" cy="2493751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xmlns="" id="{354CA686-853A-49BE-994E-C26C09AE0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9B8B82FC-05E9-41E4-8F25-7FBD5D556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1280DC01-475F-4F13-865D-090CC898CED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7AAECC4-1086-4368-BFFE-D8E610F18A6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BCC249D-9560-4008-B462-13DCED53E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156C9985-F2D1-4196-AA41-E499F41E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7831" y="3429000"/>
            <a:ext cx="4810943" cy="2493751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5602594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0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05" y="211720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57874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5" y="1421607"/>
            <a:ext cx="3155035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0844" y="3736978"/>
            <a:ext cx="2631632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3" y="3429000"/>
            <a:ext cx="2493751" cy="249375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  11">
            <a:extLst>
              <a:ext uri="{FF2B5EF4-FFF2-40B4-BE49-F238E27FC236}">
                <a16:creationId xmlns:a16="http://schemas.microsoft.com/office/drawing/2014/main" xmlns="" id="{2C52405C-61DF-46D2-8B1C-E3716825133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3429000"/>
            <a:ext cx="5398771" cy="2493751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EF7C3C81-A9A3-4093-84AB-C2BD099668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96375" y="950122"/>
            <a:ext cx="2206096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7D6FF774-0512-467F-8CD1-D519C1B03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B0D311CF-ED68-4215-99C8-4828A86C904F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BC6773-668F-4BA9-A8EE-7338EAA19F5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59DA522-7C45-43B1-9458-4DE640CD5E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06147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82335A1-7FE9-43F5-A487-E7D2E0B3B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5CF9ACA-831F-4CA4-AD72-7F19D5F1C507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B9221D8-1213-4B2F-8747-EBF7FA17425D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AA69D735-D3CD-46B2-B05D-86AB9508A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74981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216653B-2BDA-47D1-BC68-C19CC951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B415A82-8327-4329-A49E-8394818922B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10FD9F-953F-4509-8FF0-02297AB1C83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140D74F-7698-47CC-8A05-A0C839917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29896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3E8A052-A182-4F18-9BBC-2129CA378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3124805-097A-4ABA-B593-A1A123D835B6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A238CAD-79AF-48F7-BB23-9911D42E59E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99A7F8D-8D88-4AA1-A0BE-DAFB6807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13395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BLE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2B228D2A-2335-4643-90C9-DD6FF5055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ED1A571A-CBE8-4881-ABD1-4BCAC137469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152D296-81F9-4E42-B67F-EFAC7396747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E29EE87-B116-41F4-A712-68A02D40D0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61547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116653B-55A6-4F5E-BF95-BBAF6C6D8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AA7FE348-38F0-4E6F-8889-A2AB77B70F54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E542FDD-04DD-4FDC-A4EE-0E64FE7FA87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D7CB8AEF-F03E-47B2-85A7-9B80F0AAAA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61709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7E53C9A-5A7F-4312-8F2E-8CA52F57A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D2B20E5-A849-45CF-959C-F8EE48D94899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37F3D81-B307-494A-A2E4-4DEC7868002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C20C4CBF-CA3E-4CA2-AC47-94B3C79F1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695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DE6A90EF-E97F-4131-86C7-2F3F70B8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001C3067-BB73-4D16-B033-131E67A4725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F33FBBA-B60D-4378-8F1E-17DE01CB9681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451C0F61-606D-4320-B3DE-897A4AA7B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66634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AA94C3E5-18EB-4A28-838F-3E3F96E4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AAA1E24-FAEF-45E8-B870-5F8B9A09136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3BBFFCF-B978-464E-8636-3279A2F1BFE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A9946FCE-F75B-4EE3-B80C-A58F852F7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8967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047" y="2543923"/>
            <a:ext cx="3631828" cy="585788"/>
          </a:xfrm>
        </p:spPr>
        <p:txBody>
          <a:bodyPr anchor="ctr">
            <a:noAutofit/>
          </a:bodyPr>
          <a:lstStyle>
            <a:lvl1pPr>
              <a:defRPr sz="36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321" y="1720849"/>
            <a:ext cx="4526635" cy="3550557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Font typeface="Wingdings" panose="05000000000000000000" pitchFamily="2" charset="2"/>
              <a:buChar char="§"/>
              <a:defRPr sz="1500">
                <a:solidFill>
                  <a:schemeClr val="tx2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Font typeface="Segoe UI" panose="020B0502040204020203" pitchFamily="34" charset="0"/>
              <a:buChar char="&gt;"/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84EB6C3-5F57-47CF-8AA0-FE63A043391E}"/>
              </a:ext>
            </a:extLst>
          </p:cNvPr>
          <p:cNvSpPr/>
          <p:nvPr userDrawn="1"/>
        </p:nvSpPr>
        <p:spPr>
          <a:xfrm>
            <a:off x="200512" y="210315"/>
            <a:ext cx="5471109" cy="506109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B902C9D-F588-4490-B0E7-46B100E6C4F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5225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0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05" y="211720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08CEE8E7-8175-0744-A32F-77ACABA186E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0617" y="160278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  7">
            <a:extLst>
              <a:ext uri="{FF2B5EF4-FFF2-40B4-BE49-F238E27FC236}">
                <a16:creationId xmlns:a16="http://schemas.microsoft.com/office/drawing/2014/main" xmlns="" id="{6F6D79EA-94E6-4C45-985E-3C40D4DEE06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0617" y="32385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>
            <a:extLst>
              <a:ext uri="{FF2B5EF4-FFF2-40B4-BE49-F238E27FC236}">
                <a16:creationId xmlns:a16="http://schemas.microsoft.com/office/drawing/2014/main" xmlns="" id="{DC78123D-C465-7545-8B55-033B4DC9BA8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9989" y="487421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3534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bg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D4B9AE-739D-4EDA-9B81-FE172E5B6A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1950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bg1">
              <a:lumMod val="95000"/>
            </a:schemeClr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A9CDD96-0EE6-463D-9644-6A585BB9748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3139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tx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347D4D3-BC04-4844-987A-422F19BAA3A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80146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EC14240-0F8F-4CB5-82CA-20DFC97DEC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55434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1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B292E6D-8575-453D-A69A-31B36D6BDCC9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64272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3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177B917-83E3-4E35-A0F7-16F12EBF560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17707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4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A5F53E1-7706-4B28-825A-24186F29E96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82744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5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3D6A0A4-ACEF-420D-8DFD-E4AD87D3E6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6304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rgbClr val="A7BDB1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72B0FEA-57DE-4476-A696-A353C8BC5F7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0307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+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6812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6BCB9C2E-4BB8-4A2C-8E57-3CCAD3E19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060FBA99-70DE-44BB-8D8B-C84D4AE0CFD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506EDFF-BCD6-43D3-8E2C-73178F1678D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94474D95-19F6-4BAE-9650-659E53303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A460B440-F609-4C24-9142-05BF8B9C8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</p:spTree>
    <p:extLst>
      <p:ext uri="{BB962C8B-B14F-4D97-AF65-F5344CB8AC3E}">
        <p14:creationId xmlns:p14="http://schemas.microsoft.com/office/powerpoint/2010/main" val="1947774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0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05" y="211720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D908C506-15CF-7D43-8E92-7FF844ED393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29412" y="1868499"/>
            <a:ext cx="4734167" cy="321151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68947FB6-160E-0B46-9494-812B3610FB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>
            <a:extLst>
              <a:ext uri="{FF2B5EF4-FFF2-40B4-BE49-F238E27FC236}">
                <a16:creationId xmlns:a16="http://schemas.microsoft.com/office/drawing/2014/main" xmlns="" id="{8A894792-C3A5-E94A-8092-E76C4CF69F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417" y="2465398"/>
            <a:ext cx="5426075" cy="3617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xmlns="" id="{609B2549-72B4-1D4A-8B3C-19DE7C250B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9412" y="5233988"/>
            <a:ext cx="4734167" cy="887624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ctr">
              <a:buNone/>
              <a:defRPr sz="13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331229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ION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llipse 28">
            <a:extLst>
              <a:ext uri="{FF2B5EF4-FFF2-40B4-BE49-F238E27FC236}">
                <a16:creationId xmlns:a16="http://schemas.microsoft.com/office/drawing/2014/main" xmlns="" id="{90FB0429-B5AE-4824-90BB-D99D7B0C0392}"/>
              </a:ext>
            </a:extLst>
          </p:cNvPr>
          <p:cNvSpPr/>
          <p:nvPr userDrawn="1"/>
        </p:nvSpPr>
        <p:spPr>
          <a:xfrm>
            <a:off x="5467352" y="1841254"/>
            <a:ext cx="1257299" cy="125729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xmlns="" id="{C0089071-BA67-4A39-9621-92CD520E46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3" y="2688979"/>
            <a:ext cx="4166185" cy="2951256"/>
          </a:xfrm>
          <a:custGeom>
            <a:avLst/>
            <a:gdLst>
              <a:gd name="connsiteX0" fmla="*/ 587200 w 4166185"/>
              <a:gd name="connsiteY0" fmla="*/ 0 h 2951256"/>
              <a:gd name="connsiteX1" fmla="*/ 4166185 w 4166185"/>
              <a:gd name="connsiteY1" fmla="*/ 0 h 2951256"/>
              <a:gd name="connsiteX2" fmla="*/ 4166185 w 4166185"/>
              <a:gd name="connsiteY2" fmla="*/ 2951256 h 2951256"/>
              <a:gd name="connsiteX3" fmla="*/ 0 w 4166185"/>
              <a:gd name="connsiteY3" fmla="*/ 2951256 h 2951256"/>
              <a:gd name="connsiteX4" fmla="*/ 0 w 4166185"/>
              <a:gd name="connsiteY4" fmla="*/ 409575 h 2951256"/>
              <a:gd name="connsiteX5" fmla="*/ 126694 w 4166185"/>
              <a:gd name="connsiteY5" fmla="*/ 396803 h 2951256"/>
              <a:gd name="connsiteX6" fmla="*/ 579246 w 4166185"/>
              <a:gd name="connsiteY6" fmla="*/ 25625 h 295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6185" h="2951256">
                <a:moveTo>
                  <a:pt x="587200" y="0"/>
                </a:moveTo>
                <a:lnTo>
                  <a:pt x="4166185" y="0"/>
                </a:lnTo>
                <a:lnTo>
                  <a:pt x="4166185" y="2951256"/>
                </a:lnTo>
                <a:lnTo>
                  <a:pt x="0" y="2951256"/>
                </a:lnTo>
                <a:lnTo>
                  <a:pt x="0" y="409575"/>
                </a:lnTo>
                <a:lnTo>
                  <a:pt x="126694" y="396803"/>
                </a:lnTo>
                <a:cubicBezTo>
                  <a:pt x="331312" y="354932"/>
                  <a:pt x="499717" y="213651"/>
                  <a:pt x="579246" y="256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r">
              <a:buNone/>
              <a:defRPr sz="1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xmlns="" id="{2909E62E-9425-481C-9AD1-B5F130F0EB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01165" y="2"/>
            <a:ext cx="4794835" cy="4448175"/>
          </a:xfrm>
          <a:custGeom>
            <a:avLst/>
            <a:gdLst>
              <a:gd name="connsiteX0" fmla="*/ 0 w 4794834"/>
              <a:gd name="connsiteY0" fmla="*/ 0 h 4448174"/>
              <a:gd name="connsiteX1" fmla="*/ 4794834 w 4794834"/>
              <a:gd name="connsiteY1" fmla="*/ 0 h 4448174"/>
              <a:gd name="connsiteX2" fmla="*/ 4794834 w 4794834"/>
              <a:gd name="connsiteY2" fmla="*/ 1841255 h 4448174"/>
              <a:gd name="connsiteX3" fmla="*/ 4166185 w 4794834"/>
              <a:gd name="connsiteY3" fmla="*/ 2469904 h 4448174"/>
              <a:gd name="connsiteX4" fmla="*/ 4794834 w 4794834"/>
              <a:gd name="connsiteY4" fmla="*/ 3098553 h 4448174"/>
              <a:gd name="connsiteX5" fmla="*/ 4794834 w 4794834"/>
              <a:gd name="connsiteY5" fmla="*/ 4448174 h 4448174"/>
              <a:gd name="connsiteX6" fmla="*/ 0 w 4794834"/>
              <a:gd name="connsiteY6" fmla="*/ 4448174 h 444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94834" h="4448174">
                <a:moveTo>
                  <a:pt x="0" y="0"/>
                </a:moveTo>
                <a:lnTo>
                  <a:pt x="4794834" y="0"/>
                </a:lnTo>
                <a:lnTo>
                  <a:pt x="4794834" y="1841255"/>
                </a:lnTo>
                <a:cubicBezTo>
                  <a:pt x="4447641" y="1841255"/>
                  <a:pt x="4166185" y="2122711"/>
                  <a:pt x="4166185" y="2469904"/>
                </a:cubicBezTo>
                <a:cubicBezTo>
                  <a:pt x="4166185" y="2817097"/>
                  <a:pt x="4447641" y="3098553"/>
                  <a:pt x="4794834" y="3098553"/>
                </a:cubicBezTo>
                <a:lnTo>
                  <a:pt x="4794834" y="4448174"/>
                </a:lnTo>
                <a:lnTo>
                  <a:pt x="0" y="44481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 dirty="0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xmlns="" id="{53533EA2-052E-41F1-A761-FBB9456812F8}"/>
              </a:ext>
            </a:extLst>
          </p:cNvPr>
          <p:cNvSpPr/>
          <p:nvPr/>
        </p:nvSpPr>
        <p:spPr>
          <a:xfrm>
            <a:off x="5817884" y="2250831"/>
            <a:ext cx="556235" cy="438148"/>
          </a:xfrm>
          <a:custGeom>
            <a:avLst/>
            <a:gdLst>
              <a:gd name="connsiteX0" fmla="*/ 8961 w 571500"/>
              <a:gd name="connsiteY0" fmla="*/ 247462 h 419100"/>
              <a:gd name="connsiteX1" fmla="*/ -540 w 571500"/>
              <a:gd name="connsiteY1" fmla="*/ 237906 h 419100"/>
              <a:gd name="connsiteX2" fmla="*/ -540 w 571500"/>
              <a:gd name="connsiteY2" fmla="*/ 9368 h 419100"/>
              <a:gd name="connsiteX3" fmla="*/ 9007 w 571500"/>
              <a:gd name="connsiteY3" fmla="*/ -188 h 419100"/>
              <a:gd name="connsiteX4" fmla="*/ 237317 w 571500"/>
              <a:gd name="connsiteY4" fmla="*/ -188 h 419100"/>
              <a:gd name="connsiteX5" fmla="*/ 246873 w 571500"/>
              <a:gd name="connsiteY5" fmla="*/ 9368 h 419100"/>
              <a:gd name="connsiteX6" fmla="*/ 247110 w 571500"/>
              <a:gd name="connsiteY6" fmla="*/ 247462 h 419100"/>
              <a:gd name="connsiteX7" fmla="*/ 66135 w 571500"/>
              <a:gd name="connsiteY7" fmla="*/ 418912 h 419100"/>
              <a:gd name="connsiteX8" fmla="*/ 66108 w 571500"/>
              <a:gd name="connsiteY8" fmla="*/ 418912 h 419100"/>
              <a:gd name="connsiteX9" fmla="*/ 56610 w 571500"/>
              <a:gd name="connsiteY9" fmla="*/ 409431 h 419100"/>
              <a:gd name="connsiteX10" fmla="*/ 56610 w 571500"/>
              <a:gd name="connsiteY10" fmla="*/ 333143 h 419100"/>
              <a:gd name="connsiteX11" fmla="*/ 66108 w 571500"/>
              <a:gd name="connsiteY11" fmla="*/ 323662 h 419100"/>
              <a:gd name="connsiteX12" fmla="*/ 66135 w 571500"/>
              <a:gd name="connsiteY12" fmla="*/ 323662 h 419100"/>
              <a:gd name="connsiteX13" fmla="*/ 151337 w 571500"/>
              <a:gd name="connsiteY13" fmla="*/ 247462 h 419100"/>
              <a:gd name="connsiteX14" fmla="*/ 8961 w 571500"/>
              <a:gd name="connsiteY14" fmla="*/ 247462 h 419100"/>
              <a:gd name="connsiteX15" fmla="*/ 332811 w 571500"/>
              <a:gd name="connsiteY15" fmla="*/ 247462 h 419100"/>
              <a:gd name="connsiteX16" fmla="*/ 323310 w 571500"/>
              <a:gd name="connsiteY16" fmla="*/ 237906 h 419100"/>
              <a:gd name="connsiteX17" fmla="*/ 323310 w 571500"/>
              <a:gd name="connsiteY17" fmla="*/ 9368 h 419100"/>
              <a:gd name="connsiteX18" fmla="*/ 332857 w 571500"/>
              <a:gd name="connsiteY18" fmla="*/ -188 h 419100"/>
              <a:gd name="connsiteX19" fmla="*/ 561167 w 571500"/>
              <a:gd name="connsiteY19" fmla="*/ -188 h 419100"/>
              <a:gd name="connsiteX20" fmla="*/ 570723 w 571500"/>
              <a:gd name="connsiteY20" fmla="*/ 9368 h 419100"/>
              <a:gd name="connsiteX21" fmla="*/ 570960 w 571500"/>
              <a:gd name="connsiteY21" fmla="*/ 247462 h 419100"/>
              <a:gd name="connsiteX22" fmla="*/ 389985 w 571500"/>
              <a:gd name="connsiteY22" fmla="*/ 418912 h 419100"/>
              <a:gd name="connsiteX23" fmla="*/ 389958 w 571500"/>
              <a:gd name="connsiteY23" fmla="*/ 418912 h 419100"/>
              <a:gd name="connsiteX24" fmla="*/ 380460 w 571500"/>
              <a:gd name="connsiteY24" fmla="*/ 409431 h 419100"/>
              <a:gd name="connsiteX25" fmla="*/ 380460 w 571500"/>
              <a:gd name="connsiteY25" fmla="*/ 333143 h 419100"/>
              <a:gd name="connsiteX26" fmla="*/ 389958 w 571500"/>
              <a:gd name="connsiteY26" fmla="*/ 323662 h 419100"/>
              <a:gd name="connsiteX27" fmla="*/ 389985 w 571500"/>
              <a:gd name="connsiteY27" fmla="*/ 323662 h 419100"/>
              <a:gd name="connsiteX28" fmla="*/ 475187 w 571500"/>
              <a:gd name="connsiteY28" fmla="*/ 247462 h 419100"/>
              <a:gd name="connsiteX29" fmla="*/ 332811 w 571500"/>
              <a:gd name="connsiteY29" fmla="*/ 247462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71500" h="419100">
                <a:moveTo>
                  <a:pt x="8961" y="247462"/>
                </a:moveTo>
                <a:cubicBezTo>
                  <a:pt x="3714" y="247462"/>
                  <a:pt x="-540" y="243164"/>
                  <a:pt x="-540" y="237906"/>
                </a:cubicBezTo>
                <a:lnTo>
                  <a:pt x="-540" y="9368"/>
                </a:lnTo>
                <a:cubicBezTo>
                  <a:pt x="-540" y="4091"/>
                  <a:pt x="3754" y="-188"/>
                  <a:pt x="9007" y="-188"/>
                </a:cubicBezTo>
                <a:lnTo>
                  <a:pt x="237317" y="-188"/>
                </a:lnTo>
                <a:cubicBezTo>
                  <a:pt x="242589" y="-188"/>
                  <a:pt x="246868" y="4110"/>
                  <a:pt x="246873" y="9368"/>
                </a:cubicBezTo>
                <a:lnTo>
                  <a:pt x="247110" y="247462"/>
                </a:lnTo>
                <a:cubicBezTo>
                  <a:pt x="241910" y="342984"/>
                  <a:pt x="162890" y="418912"/>
                  <a:pt x="66135" y="418912"/>
                </a:cubicBezTo>
                <a:lnTo>
                  <a:pt x="66108" y="418912"/>
                </a:lnTo>
                <a:cubicBezTo>
                  <a:pt x="60862" y="418912"/>
                  <a:pt x="56610" y="414572"/>
                  <a:pt x="56610" y="409431"/>
                </a:cubicBezTo>
                <a:lnTo>
                  <a:pt x="56610" y="333143"/>
                </a:lnTo>
                <a:cubicBezTo>
                  <a:pt x="56610" y="327907"/>
                  <a:pt x="60927" y="323662"/>
                  <a:pt x="66108" y="323662"/>
                </a:cubicBezTo>
                <a:lnTo>
                  <a:pt x="66135" y="323662"/>
                </a:lnTo>
                <a:cubicBezTo>
                  <a:pt x="110260" y="323662"/>
                  <a:pt x="146599" y="290324"/>
                  <a:pt x="151337" y="247462"/>
                </a:cubicBezTo>
                <a:lnTo>
                  <a:pt x="8961" y="247462"/>
                </a:lnTo>
                <a:close/>
                <a:moveTo>
                  <a:pt x="332811" y="247462"/>
                </a:moveTo>
                <a:cubicBezTo>
                  <a:pt x="327564" y="247462"/>
                  <a:pt x="323310" y="243164"/>
                  <a:pt x="323310" y="237906"/>
                </a:cubicBezTo>
                <a:lnTo>
                  <a:pt x="323310" y="9368"/>
                </a:lnTo>
                <a:cubicBezTo>
                  <a:pt x="323310" y="4091"/>
                  <a:pt x="327604" y="-188"/>
                  <a:pt x="332857" y="-188"/>
                </a:cubicBezTo>
                <a:lnTo>
                  <a:pt x="561167" y="-188"/>
                </a:lnTo>
                <a:cubicBezTo>
                  <a:pt x="566439" y="-188"/>
                  <a:pt x="570718" y="4110"/>
                  <a:pt x="570723" y="9368"/>
                </a:cubicBezTo>
                <a:lnTo>
                  <a:pt x="570960" y="247462"/>
                </a:lnTo>
                <a:cubicBezTo>
                  <a:pt x="565760" y="342984"/>
                  <a:pt x="486740" y="418912"/>
                  <a:pt x="389985" y="418912"/>
                </a:cubicBezTo>
                <a:lnTo>
                  <a:pt x="389958" y="418912"/>
                </a:lnTo>
                <a:cubicBezTo>
                  <a:pt x="384712" y="418912"/>
                  <a:pt x="380460" y="414572"/>
                  <a:pt x="380460" y="409431"/>
                </a:cubicBezTo>
                <a:lnTo>
                  <a:pt x="380460" y="333143"/>
                </a:lnTo>
                <a:cubicBezTo>
                  <a:pt x="380460" y="327907"/>
                  <a:pt x="384777" y="323662"/>
                  <a:pt x="389958" y="323662"/>
                </a:cubicBezTo>
                <a:lnTo>
                  <a:pt x="389985" y="323662"/>
                </a:lnTo>
                <a:cubicBezTo>
                  <a:pt x="434110" y="323662"/>
                  <a:pt x="470449" y="290324"/>
                  <a:pt x="475187" y="247462"/>
                </a:cubicBezTo>
                <a:lnTo>
                  <a:pt x="332811" y="24746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91436" tIns="45718" rIns="91436" bIns="45718" rtlCol="0" anchor="ctr"/>
          <a:lstStyle/>
          <a:p>
            <a:pPr defTabSz="1219170"/>
            <a:endParaRPr lang="fr-FR" sz="2400">
              <a:solidFill>
                <a:prstClr val="black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0555" y="4739260"/>
            <a:ext cx="3336799" cy="280797"/>
          </a:xfrm>
        </p:spPr>
        <p:txBody>
          <a:bodyPr anchor="b">
            <a:noAutofit/>
          </a:bodyPr>
          <a:lstStyle>
            <a:lvl1pPr algn="r">
              <a:buNone/>
              <a:defRPr sz="2000"/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Citant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441760C7-EC53-4050-B375-4295D3FDF8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5539" y="5046852"/>
            <a:ext cx="2321815" cy="280797"/>
          </a:xfrm>
        </p:spPr>
        <p:txBody>
          <a:bodyPr>
            <a:noAutofit/>
          </a:bodyPr>
          <a:lstStyle>
            <a:lvl1pPr algn="r">
              <a:buNone/>
              <a:defRPr sz="19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A94132BA-B2D0-4D4C-B887-32857E9CF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2436" y="3871714"/>
            <a:ext cx="3053312" cy="585788"/>
          </a:xfrm>
        </p:spPr>
        <p:txBody>
          <a:bodyPr anchor="ctr">
            <a:noAutofit/>
          </a:bodyPr>
          <a:lstStyle>
            <a:lvl1pPr>
              <a:defRPr sz="2000"/>
            </a:lvl1pPr>
          </a:lstStyle>
          <a:p>
            <a:r>
              <a:rPr lang="fr-FR" dirty="0"/>
              <a:t>Citation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6E9568A0-91A6-42AC-9EA5-493A1D1A4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344CD52A-E82B-4857-BD43-D0B26BBD2D9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66128BC-4E54-4736-A5DB-6E592FD7ADE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08921B6F-80BE-4085-9859-40CA1324E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0233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1" y="666749"/>
            <a:ext cx="2762251" cy="2762251"/>
          </a:xfrm>
        </p:spPr>
        <p:txBody>
          <a:bodyPr/>
          <a:lstStyle/>
          <a:p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77A60DA-8122-4AC0-A87B-08B3BC8F9BF9}"/>
              </a:ext>
            </a:extLst>
          </p:cNvPr>
          <p:cNvSpPr/>
          <p:nvPr userDrawn="1"/>
        </p:nvSpPr>
        <p:spPr>
          <a:xfrm>
            <a:off x="1228035" y="3429000"/>
            <a:ext cx="2513543" cy="21046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4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6DA83DA6-E40E-43B0-9E29-D24089E0B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4" y="4242679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C5930C0-F4E7-4120-B24C-18F053399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4" y="4799168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5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8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3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9" y="3821715"/>
            <a:ext cx="169076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9" y="4154045"/>
            <a:ext cx="1690763" cy="1661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915706E2-0161-432A-88DF-844474267205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E5F968E-918C-4654-8E3D-96935DF56E2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C68A1FAB-0F2E-4190-8527-AE61C36CC5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9040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1" y="666749"/>
            <a:ext cx="2762251" cy="2762251"/>
          </a:xfrm>
        </p:spPr>
        <p:txBody>
          <a:bodyPr/>
          <a:lstStyle/>
          <a:p>
            <a:endParaRPr lang="fr-FR"/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8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3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9" y="3821715"/>
            <a:ext cx="169076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9" y="4154045"/>
            <a:ext cx="1690763" cy="166199"/>
          </a:xfrm>
        </p:spPr>
        <p:txBody>
          <a:bodyPr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5BAE411-0A22-410B-83F2-CBC4CBA0839A}"/>
              </a:ext>
            </a:extLst>
          </p:cNvPr>
          <p:cNvSpPr/>
          <p:nvPr userDrawn="1"/>
        </p:nvSpPr>
        <p:spPr>
          <a:xfrm>
            <a:off x="1228035" y="3429000"/>
            <a:ext cx="2513543" cy="21046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30" name="Espace réservé du numéro de diapositive 5">
            <a:extLst>
              <a:ext uri="{FF2B5EF4-FFF2-40B4-BE49-F238E27FC236}">
                <a16:creationId xmlns:a16="http://schemas.microsoft.com/office/drawing/2014/main" xmlns="" id="{7E03E7B4-CA50-4BBD-8DBE-9F8757DDF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1" name="Espace réservé de la date 3">
            <a:extLst>
              <a:ext uri="{FF2B5EF4-FFF2-40B4-BE49-F238E27FC236}">
                <a16:creationId xmlns:a16="http://schemas.microsoft.com/office/drawing/2014/main" xmlns="" id="{1BF382F1-AA1E-4CA8-8831-C5105D98934B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AB88E5C-3B4D-4423-B92E-0043E0849C0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texte 6">
            <a:extLst>
              <a:ext uri="{FF2B5EF4-FFF2-40B4-BE49-F238E27FC236}">
                <a16:creationId xmlns:a16="http://schemas.microsoft.com/office/drawing/2014/main" xmlns="" id="{3930505F-D975-4EC4-B884-45C0A5F8EE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4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33" name="Espace réservé du texte 6">
            <a:extLst>
              <a:ext uri="{FF2B5EF4-FFF2-40B4-BE49-F238E27FC236}">
                <a16:creationId xmlns:a16="http://schemas.microsoft.com/office/drawing/2014/main" xmlns="" id="{629FC540-4EAE-44D8-BB0C-B875E2519B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4" y="4242679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xmlns="" id="{7BF238C7-E89A-47FB-BE3D-3F2634220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4" y="4799168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5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FFB42B9F-E49F-47E7-8B64-6B337AB41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2486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3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8587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17694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6802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24002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107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1127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8200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xmlns="" id="{386229FD-55A1-4852-8D4B-A8779FC41F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58251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A9DA7FBC-EF80-4A56-8B24-84E51590A56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1532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A879008A-4DDA-44C1-8ADD-D65E690F09B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24002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9AA9228C-2F11-49A2-BB2D-2C8DF12743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91127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  <a:p>
            <a:pPr lvl="0"/>
            <a:endParaRPr lang="fr-FR" dirty="0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94ABAE55-63BF-4CB7-8DC4-4623FC8C6D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8251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1458C19E-454D-4AF8-9E89-589D46CA0A3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1F17CC7-4E60-482F-A5F3-BE7CCCB8AF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xmlns="" id="{3AB36181-7622-4D92-8C7B-65AFAC213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71670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8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0131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9425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0131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2283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67442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59594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06778E9D-D17D-4914-97DE-49D51276BB3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44751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DDF2DEFF-A2F6-4073-AA97-B29CCE54C52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024045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0F8D44D4-8A30-4501-82B4-A82AFEC009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44751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C1AC91ED-5609-476D-BE41-07D177E4AE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6903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1" name="Espace réservé du texte 16">
            <a:extLst>
              <a:ext uri="{FF2B5EF4-FFF2-40B4-BE49-F238E27FC236}">
                <a16:creationId xmlns:a16="http://schemas.microsoft.com/office/drawing/2014/main" xmlns="" id="{8CE24202-2845-42A3-AF70-82BD181CAA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22062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2" name="Espace réservé du texte 16">
            <a:extLst>
              <a:ext uri="{FF2B5EF4-FFF2-40B4-BE49-F238E27FC236}">
                <a16:creationId xmlns:a16="http://schemas.microsoft.com/office/drawing/2014/main" xmlns="" id="{F8006483-7AFB-40C8-9986-0DCDA47C3D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14214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34B8B323-EF93-4A7F-9969-D840B1D854A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0131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5E31982C-9272-47FD-8C42-DB559094A8D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869425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8E579A1C-ABA0-4F1E-8C9A-1A8D2F921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90131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9A267BD1-56D4-4DBC-9432-C43F2AC601A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82283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7" name="Espace réservé du texte 16">
            <a:extLst>
              <a:ext uri="{FF2B5EF4-FFF2-40B4-BE49-F238E27FC236}">
                <a16:creationId xmlns:a16="http://schemas.microsoft.com/office/drawing/2014/main" xmlns="" id="{1A80F3BF-A4D5-4322-A983-38D92755CA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67442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597A55D3-92CD-4D3B-B89C-8AC7A72A6C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59594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9" name="Espace réservé pour une image  6">
            <a:extLst>
              <a:ext uri="{FF2B5EF4-FFF2-40B4-BE49-F238E27FC236}">
                <a16:creationId xmlns:a16="http://schemas.microsoft.com/office/drawing/2014/main" xmlns="" id="{F353E210-BB2D-4C39-9DE4-FF0DB2EC1D1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444751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0" name="Espace réservé pour une image  6">
            <a:extLst>
              <a:ext uri="{FF2B5EF4-FFF2-40B4-BE49-F238E27FC236}">
                <a16:creationId xmlns:a16="http://schemas.microsoft.com/office/drawing/2014/main" xmlns="" id="{C35BB586-9C07-43BF-9FD1-0B351B05137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24045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C35D6923-DA89-4012-B41C-7D352DC51EB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44751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D37E676C-7672-4907-A33C-8A7B639D54D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36903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055B5EAC-D3AB-416D-B253-98FB6AFECEB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22062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B30609C5-E3FB-4BA4-82BC-01C90C359CC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14214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6" name="Espace réservé de la date 3">
            <a:extLst>
              <a:ext uri="{FF2B5EF4-FFF2-40B4-BE49-F238E27FC236}">
                <a16:creationId xmlns:a16="http://schemas.microsoft.com/office/drawing/2014/main" xmlns="" id="{EEB79370-0C2F-4683-946F-991D2506A00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46E05E74-2C0D-4113-9143-853EB8AB06F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5" name="Espace réservé du pied de page 4">
            <a:extLst>
              <a:ext uri="{FF2B5EF4-FFF2-40B4-BE49-F238E27FC236}">
                <a16:creationId xmlns:a16="http://schemas.microsoft.com/office/drawing/2014/main" xmlns="" id="{D8140669-2368-4FC8-94A0-9063141276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39117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4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xmlns="" id="{8BF75F91-9399-4B96-A46F-567BF14ED8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21481" y="3372402"/>
            <a:ext cx="7730731" cy="132156"/>
          </a:xfrm>
          <a:custGeom>
            <a:avLst/>
            <a:gdLst>
              <a:gd name="connsiteX0" fmla="*/ 7629385 w 7730730"/>
              <a:gd name="connsiteY0" fmla="*/ 0 h 132156"/>
              <a:gd name="connsiteX1" fmla="*/ 7730730 w 7730730"/>
              <a:gd name="connsiteY1" fmla="*/ 66078 h 132156"/>
              <a:gd name="connsiteX2" fmla="*/ 7629385 w 7730730"/>
              <a:gd name="connsiteY2" fmla="*/ 132156 h 132156"/>
              <a:gd name="connsiteX3" fmla="*/ 7629385 w 7730730"/>
              <a:gd name="connsiteY3" fmla="*/ 99117 h 132156"/>
              <a:gd name="connsiteX4" fmla="*/ 3815639 w 7730730"/>
              <a:gd name="connsiteY4" fmla="*/ 99117 h 132156"/>
              <a:gd name="connsiteX5" fmla="*/ 161374 w 7730730"/>
              <a:gd name="connsiteY5" fmla="*/ 99117 h 132156"/>
              <a:gd name="connsiteX6" fmla="*/ 0 w 7730730"/>
              <a:gd name="connsiteY6" fmla="*/ 99117 h 132156"/>
              <a:gd name="connsiteX7" fmla="*/ 0 w 7730730"/>
              <a:gd name="connsiteY7" fmla="*/ 33039 h 132156"/>
              <a:gd name="connsiteX8" fmla="*/ 161374 w 7730730"/>
              <a:gd name="connsiteY8" fmla="*/ 33039 h 132156"/>
              <a:gd name="connsiteX9" fmla="*/ 3815639 w 7730730"/>
              <a:gd name="connsiteY9" fmla="*/ 33039 h 132156"/>
              <a:gd name="connsiteX10" fmla="*/ 7629385 w 7730730"/>
              <a:gd name="connsiteY10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30730" h="132156">
                <a:moveTo>
                  <a:pt x="7629385" y="0"/>
                </a:moveTo>
                <a:lnTo>
                  <a:pt x="7730730" y="66078"/>
                </a:lnTo>
                <a:lnTo>
                  <a:pt x="7629385" y="132156"/>
                </a:lnTo>
                <a:lnTo>
                  <a:pt x="7629385" y="99117"/>
                </a:lnTo>
                <a:lnTo>
                  <a:pt x="3815639" y="99117"/>
                </a:lnTo>
                <a:lnTo>
                  <a:pt x="161374" y="99117"/>
                </a:lnTo>
                <a:lnTo>
                  <a:pt x="0" y="99117"/>
                </a:lnTo>
                <a:lnTo>
                  <a:pt x="0" y="33039"/>
                </a:lnTo>
                <a:lnTo>
                  <a:pt x="161374" y="33039"/>
                </a:lnTo>
                <a:lnTo>
                  <a:pt x="3815639" y="33039"/>
                </a:lnTo>
                <a:lnTo>
                  <a:pt x="7629385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9024" y="1175443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834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53855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36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84875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8343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53855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9363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84875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8343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53855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9363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4875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5" name="Espace réservé pour une image  11">
            <a:extLst>
              <a:ext uri="{FF2B5EF4-FFF2-40B4-BE49-F238E27FC236}">
                <a16:creationId xmlns:a16="http://schemas.microsoft.com/office/drawing/2014/main" xmlns="" id="{026DD0D7-A6FD-4945-9FE2-3A359ED7912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2" y="2"/>
            <a:ext cx="3621481" cy="5143500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27915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43427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658935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568663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28" name="Espace réservé de la date 3">
            <a:extLst>
              <a:ext uri="{FF2B5EF4-FFF2-40B4-BE49-F238E27FC236}">
                <a16:creationId xmlns:a16="http://schemas.microsoft.com/office/drawing/2014/main" xmlns="" id="{DF1A8EF8-287A-4E3D-AEBD-D82AF442E3FD}"/>
              </a:ext>
            </a:extLst>
          </p:cNvPr>
          <p:cNvSpPr>
            <a:spLocks noGrp="1"/>
          </p:cNvSpPr>
          <p:nvPr>
            <p:ph type="dt" sz="half" idx="3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3080486-4FCA-4662-8803-77A53ADF7262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982FB0BB-51CC-418F-A6FC-59665323B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09268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8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Espace réservé pour une image  56">
            <a:extLst>
              <a:ext uri="{FF2B5EF4-FFF2-40B4-BE49-F238E27FC236}">
                <a16:creationId xmlns:a16="http://schemas.microsoft.com/office/drawing/2014/main" xmlns="" id="{9DB540FF-3588-4A85-9C5C-E2A1DB0ACDC2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8321285" y="-15393"/>
            <a:ext cx="3870719" cy="5681813"/>
          </a:xfrm>
          <a:custGeom>
            <a:avLst/>
            <a:gdLst>
              <a:gd name="connsiteX0" fmla="*/ 0 w 3870719"/>
              <a:gd name="connsiteY0" fmla="*/ 2865178 h 5681813"/>
              <a:gd name="connsiteX1" fmla="*/ 118478 w 3870719"/>
              <a:gd name="connsiteY1" fmla="*/ 2873285 h 5681813"/>
              <a:gd name="connsiteX2" fmla="*/ 772958 w 3870719"/>
              <a:gd name="connsiteY2" fmla="*/ 3325596 h 5681813"/>
              <a:gd name="connsiteX3" fmla="*/ 765784 w 3870719"/>
              <a:gd name="connsiteY3" fmla="*/ 4242158 h 5681813"/>
              <a:gd name="connsiteX4" fmla="*/ 104308 w 3870719"/>
              <a:gd name="connsiteY4" fmla="*/ 4683639 h 5681813"/>
              <a:gd name="connsiteX5" fmla="*/ 0 w 3870719"/>
              <a:gd name="connsiteY5" fmla="*/ 4689054 h 5681813"/>
              <a:gd name="connsiteX6" fmla="*/ 2298 w 3870719"/>
              <a:gd name="connsiteY6" fmla="*/ 0 h 5681813"/>
              <a:gd name="connsiteX7" fmla="*/ 3870719 w 3870719"/>
              <a:gd name="connsiteY7" fmla="*/ 0 h 5681813"/>
              <a:gd name="connsiteX8" fmla="*/ 3870719 w 3870719"/>
              <a:gd name="connsiteY8" fmla="*/ 5681813 h 5681813"/>
              <a:gd name="connsiteX9" fmla="*/ 2298 w 3870719"/>
              <a:gd name="connsiteY9" fmla="*/ 5681813 h 5681813"/>
              <a:gd name="connsiteX10" fmla="*/ 2298 w 3870719"/>
              <a:gd name="connsiteY10" fmla="*/ 4717353 h 5681813"/>
              <a:gd name="connsiteX11" fmla="*/ 108764 w 3870719"/>
              <a:gd name="connsiteY11" fmla="*/ 4711778 h 5681813"/>
              <a:gd name="connsiteX12" fmla="*/ 783935 w 3870719"/>
              <a:gd name="connsiteY12" fmla="*/ 4257299 h 5681813"/>
              <a:gd name="connsiteX13" fmla="*/ 791258 w 3870719"/>
              <a:gd name="connsiteY13" fmla="*/ 3313750 h 5681813"/>
              <a:gd name="connsiteX14" fmla="*/ 123229 w 3870719"/>
              <a:gd name="connsiteY14" fmla="*/ 2848122 h 5681813"/>
              <a:gd name="connsiteX15" fmla="*/ 2298 w 3870719"/>
              <a:gd name="connsiteY15" fmla="*/ 2839776 h 568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70719" h="5681813">
                <a:moveTo>
                  <a:pt x="0" y="2865178"/>
                </a:moveTo>
                <a:lnTo>
                  <a:pt x="118478" y="2873285"/>
                </a:lnTo>
                <a:cubicBezTo>
                  <a:pt x="391221" y="2910816"/>
                  <a:pt x="634433" y="3076509"/>
                  <a:pt x="772958" y="3325596"/>
                </a:cubicBezTo>
                <a:cubicBezTo>
                  <a:pt x="931274" y="3610267"/>
                  <a:pt x="928535" y="3960129"/>
                  <a:pt x="765784" y="4242158"/>
                </a:cubicBezTo>
                <a:cubicBezTo>
                  <a:pt x="623377" y="4488934"/>
                  <a:pt x="377604" y="4650601"/>
                  <a:pt x="104308" y="4683639"/>
                </a:cubicBezTo>
                <a:lnTo>
                  <a:pt x="0" y="4689054"/>
                </a:lnTo>
                <a:close/>
                <a:moveTo>
                  <a:pt x="2298" y="0"/>
                </a:moveTo>
                <a:lnTo>
                  <a:pt x="3870719" y="0"/>
                </a:lnTo>
                <a:lnTo>
                  <a:pt x="3870719" y="5681813"/>
                </a:lnTo>
                <a:lnTo>
                  <a:pt x="2298" y="5681813"/>
                </a:lnTo>
                <a:lnTo>
                  <a:pt x="2298" y="4717353"/>
                </a:lnTo>
                <a:lnTo>
                  <a:pt x="108764" y="4711778"/>
                </a:lnTo>
                <a:cubicBezTo>
                  <a:pt x="387718" y="4677768"/>
                  <a:pt x="638580" y="4511341"/>
                  <a:pt x="783935" y="4257299"/>
                </a:cubicBezTo>
                <a:cubicBezTo>
                  <a:pt x="950055" y="3966966"/>
                  <a:pt x="952851" y="3606803"/>
                  <a:pt x="791258" y="3313750"/>
                </a:cubicBezTo>
                <a:cubicBezTo>
                  <a:pt x="649865" y="3057329"/>
                  <a:pt x="401618" y="2886758"/>
                  <a:pt x="123229" y="2848122"/>
                </a:cubicBezTo>
                <a:lnTo>
                  <a:pt x="2298" y="283977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175443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cxnSp>
        <p:nvCxnSpPr>
          <p:cNvPr id="6" name="Google Shape;1226;p34">
            <a:extLst>
              <a:ext uri="{FF2B5EF4-FFF2-40B4-BE49-F238E27FC236}">
                <a16:creationId xmlns:a16="http://schemas.microsoft.com/office/drawing/2014/main" xmlns="" id="{1F5C82C3-9E61-4B50-9465-C623080F6C66}"/>
              </a:ext>
            </a:extLst>
          </p:cNvPr>
          <p:cNvCxnSpPr>
            <a:cxnSpLocks/>
          </p:cNvCxnSpPr>
          <p:nvPr userDrawn="1"/>
        </p:nvCxnSpPr>
        <p:spPr>
          <a:xfrm>
            <a:off x="-123366" y="2835947"/>
            <a:ext cx="8444649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none" w="med" len="med"/>
          </a:ln>
        </p:spPr>
      </p:cxn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794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6306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11815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7326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794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96306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11815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27326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0794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6306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11815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27326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70366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85878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01387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11115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cxnSp>
        <p:nvCxnSpPr>
          <p:cNvPr id="27" name="Google Shape;1226;p34">
            <a:extLst>
              <a:ext uri="{FF2B5EF4-FFF2-40B4-BE49-F238E27FC236}">
                <a16:creationId xmlns:a16="http://schemas.microsoft.com/office/drawing/2014/main" xmlns="" id="{23DF94F9-A260-43CD-9248-D99813267475}"/>
              </a:ext>
            </a:extLst>
          </p:cNvPr>
          <p:cNvCxnSpPr>
            <a:cxnSpLocks/>
          </p:cNvCxnSpPr>
          <p:nvPr userDrawn="1"/>
        </p:nvCxnSpPr>
        <p:spPr>
          <a:xfrm flipH="1">
            <a:off x="377827" y="4695735"/>
            <a:ext cx="7939861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arrow" w="med" len="med"/>
          </a:ln>
        </p:spPr>
      </p:cxn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6E483FAD-1FF2-4E6F-AD6C-10A215172D1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0794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40278062-5064-42DD-BA7C-79672AD14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6306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2455AF2F-DB1A-420F-B454-24A9A6CEF7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11815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xmlns="" id="{4BDB55D4-7059-4186-A888-98BF87E1BF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27326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40" name="Espace réservé du texte 16">
            <a:extLst>
              <a:ext uri="{FF2B5EF4-FFF2-40B4-BE49-F238E27FC236}">
                <a16:creationId xmlns:a16="http://schemas.microsoft.com/office/drawing/2014/main" xmlns="" id="{3774B387-0915-460D-A5C5-EE38F7D549B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0794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1" name="Espace réservé du texte 16">
            <a:extLst>
              <a:ext uri="{FF2B5EF4-FFF2-40B4-BE49-F238E27FC236}">
                <a16:creationId xmlns:a16="http://schemas.microsoft.com/office/drawing/2014/main" xmlns="" id="{371177E5-C54B-426E-A5B9-32471D4CF1A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96306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2" name="Espace réservé du texte 16">
            <a:extLst>
              <a:ext uri="{FF2B5EF4-FFF2-40B4-BE49-F238E27FC236}">
                <a16:creationId xmlns:a16="http://schemas.microsoft.com/office/drawing/2014/main" xmlns="" id="{FD305E3C-DE4E-4AF4-8DDC-90018E62B6B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211815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3" name="Espace réservé du texte 16">
            <a:extLst>
              <a:ext uri="{FF2B5EF4-FFF2-40B4-BE49-F238E27FC236}">
                <a16:creationId xmlns:a16="http://schemas.microsoft.com/office/drawing/2014/main" xmlns="" id="{AF3390B6-61A7-40B1-A825-2954AF18355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27326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4" name="Espace réservé du texte 16">
            <a:extLst>
              <a:ext uri="{FF2B5EF4-FFF2-40B4-BE49-F238E27FC236}">
                <a16:creationId xmlns:a16="http://schemas.microsoft.com/office/drawing/2014/main" xmlns="" id="{5ED5135D-3F5E-42C4-B518-A439EFE49A4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0794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5" name="Espace réservé du texte 16">
            <a:extLst>
              <a:ext uri="{FF2B5EF4-FFF2-40B4-BE49-F238E27FC236}">
                <a16:creationId xmlns:a16="http://schemas.microsoft.com/office/drawing/2014/main" xmlns="" id="{D2EC1CE9-2717-4BF0-9EFE-270FD6C1324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6306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6" name="Espace réservé du texte 16">
            <a:extLst>
              <a:ext uri="{FF2B5EF4-FFF2-40B4-BE49-F238E27FC236}">
                <a16:creationId xmlns:a16="http://schemas.microsoft.com/office/drawing/2014/main" xmlns="" id="{2CF3B89E-1947-4759-B0C8-7F19998EEA7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11815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7" name="Espace réservé du texte 16">
            <a:extLst>
              <a:ext uri="{FF2B5EF4-FFF2-40B4-BE49-F238E27FC236}">
                <a16:creationId xmlns:a16="http://schemas.microsoft.com/office/drawing/2014/main" xmlns="" id="{9D34728F-ABD5-4D0A-8813-9B49DC41609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27326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8" name="Espace réservé du texte 14">
            <a:extLst>
              <a:ext uri="{FF2B5EF4-FFF2-40B4-BE49-F238E27FC236}">
                <a16:creationId xmlns:a16="http://schemas.microsoft.com/office/drawing/2014/main" xmlns="" id="{17D0B598-D7F3-4D05-93C6-1150F0041C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70366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49" name="Espace réservé du texte 14">
            <a:extLst>
              <a:ext uri="{FF2B5EF4-FFF2-40B4-BE49-F238E27FC236}">
                <a16:creationId xmlns:a16="http://schemas.microsoft.com/office/drawing/2014/main" xmlns="" id="{86BB90E2-1248-40AB-AF36-748A2695005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985878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0" name="Espace réservé du texte 14">
            <a:extLst>
              <a:ext uri="{FF2B5EF4-FFF2-40B4-BE49-F238E27FC236}">
                <a16:creationId xmlns:a16="http://schemas.microsoft.com/office/drawing/2014/main" xmlns="" id="{872EB272-CB75-4765-AB78-ACDB84D84AE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901387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1" name="Espace réservé du texte 14">
            <a:extLst>
              <a:ext uri="{FF2B5EF4-FFF2-40B4-BE49-F238E27FC236}">
                <a16:creationId xmlns:a16="http://schemas.microsoft.com/office/drawing/2014/main" xmlns="" id="{A231F584-48ED-46BD-9904-FDEA600ACC1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11115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3" name="Espace réservé de la date 3">
            <a:extLst>
              <a:ext uri="{FF2B5EF4-FFF2-40B4-BE49-F238E27FC236}">
                <a16:creationId xmlns:a16="http://schemas.microsoft.com/office/drawing/2014/main" xmlns="" id="{3258180C-5497-4C38-9C95-4375871FBF04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3CA8FBA-2E77-4098-A498-2FC142F0AD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52" name="Espace réservé du pied de page 4">
            <a:extLst>
              <a:ext uri="{FF2B5EF4-FFF2-40B4-BE49-F238E27FC236}">
                <a16:creationId xmlns:a16="http://schemas.microsoft.com/office/drawing/2014/main" xmlns="" id="{71F260EF-9429-4601-91CB-C9EF7F767B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52171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05F86067-1E47-4559-8155-721EE640A36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4047" y="3372402"/>
            <a:ext cx="10438165" cy="132156"/>
          </a:xfrm>
          <a:custGeom>
            <a:avLst/>
            <a:gdLst>
              <a:gd name="connsiteX0" fmla="*/ 10336820 w 10438165"/>
              <a:gd name="connsiteY0" fmla="*/ 0 h 132156"/>
              <a:gd name="connsiteX1" fmla="*/ 10438165 w 10438165"/>
              <a:gd name="connsiteY1" fmla="*/ 66078 h 132156"/>
              <a:gd name="connsiteX2" fmla="*/ 10336820 w 10438165"/>
              <a:gd name="connsiteY2" fmla="*/ 132156 h 132156"/>
              <a:gd name="connsiteX3" fmla="*/ 10336820 w 10438165"/>
              <a:gd name="connsiteY3" fmla="*/ 99117 h 132156"/>
              <a:gd name="connsiteX4" fmla="*/ 6523074 w 10438165"/>
              <a:gd name="connsiteY4" fmla="*/ 99117 h 132156"/>
              <a:gd name="connsiteX5" fmla="*/ 6523074 w 10438165"/>
              <a:gd name="connsiteY5" fmla="*/ 99117 h 132156"/>
              <a:gd name="connsiteX6" fmla="*/ 2868809 w 10438165"/>
              <a:gd name="connsiteY6" fmla="*/ 99117 h 132156"/>
              <a:gd name="connsiteX7" fmla="*/ 0 w 10438165"/>
              <a:gd name="connsiteY7" fmla="*/ 99117 h 132156"/>
              <a:gd name="connsiteX8" fmla="*/ 0 w 10438165"/>
              <a:gd name="connsiteY8" fmla="*/ 33039 h 132156"/>
              <a:gd name="connsiteX9" fmla="*/ 2868809 w 10438165"/>
              <a:gd name="connsiteY9" fmla="*/ 33039 h 132156"/>
              <a:gd name="connsiteX10" fmla="*/ 6523074 w 10438165"/>
              <a:gd name="connsiteY10" fmla="*/ 33039 h 132156"/>
              <a:gd name="connsiteX11" fmla="*/ 6523074 w 10438165"/>
              <a:gd name="connsiteY11" fmla="*/ 33039 h 132156"/>
              <a:gd name="connsiteX12" fmla="*/ 10336820 w 10438165"/>
              <a:gd name="connsiteY12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438165" h="132156">
                <a:moveTo>
                  <a:pt x="10336820" y="0"/>
                </a:moveTo>
                <a:lnTo>
                  <a:pt x="10438165" y="66078"/>
                </a:lnTo>
                <a:lnTo>
                  <a:pt x="10336820" y="132156"/>
                </a:lnTo>
                <a:lnTo>
                  <a:pt x="10336820" y="99117"/>
                </a:lnTo>
                <a:lnTo>
                  <a:pt x="6523074" y="99117"/>
                </a:lnTo>
                <a:lnTo>
                  <a:pt x="6523074" y="99117"/>
                </a:lnTo>
                <a:lnTo>
                  <a:pt x="2868809" y="99117"/>
                </a:lnTo>
                <a:lnTo>
                  <a:pt x="0" y="99117"/>
                </a:lnTo>
                <a:lnTo>
                  <a:pt x="0" y="33039"/>
                </a:lnTo>
                <a:lnTo>
                  <a:pt x="2868809" y="33039"/>
                </a:lnTo>
                <a:lnTo>
                  <a:pt x="6523074" y="33039"/>
                </a:lnTo>
                <a:lnTo>
                  <a:pt x="6523074" y="33039"/>
                </a:lnTo>
                <a:lnTo>
                  <a:pt x="10336820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E691DEE2-E7EE-4FD9-AA00-F52560168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979" y="2944231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xmlns="" id="{AC5A7CE0-87C1-45B5-99A4-75E5E08DB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9979" y="3664349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FA116E92-7D11-408B-B5AD-1EDF39EF83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9979" y="400269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2F111BF4-413D-45A3-B3CA-6D9F0066FE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9551" y="3372406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5A5558FD-4B9F-4745-B1F8-40D160C2C28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DDF33FA-359B-48AC-A166-49421455CBF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5FDC6C98-BC07-4D67-BC7B-3CEAAB3583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76349" y="2424296"/>
            <a:ext cx="738555" cy="286232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277D3F6A-8541-4344-ABE5-22A4F4D98C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473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QUE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Logo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9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53533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1126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C385255D-FB3C-44BF-9352-E8F2F8EB248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28719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E1570A94-4308-43FB-8D2A-C370C942C75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66314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3712B59D-6FE6-4DC5-A305-1C40F51606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748AEA66-35BE-46AC-9581-E93250F3A6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53533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C59BF378-C6A3-453C-9277-101978A11C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91126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78E15921-3DC1-448F-AE2F-B0CB363DFCA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28719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D3E3F41F-E7AA-4174-84E6-6DEB41A8E84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866314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1E0694AA-56B5-4EB0-8F7F-B2ACE190528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9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6">
            <a:extLst>
              <a:ext uri="{FF2B5EF4-FFF2-40B4-BE49-F238E27FC236}">
                <a16:creationId xmlns:a16="http://schemas.microsoft.com/office/drawing/2014/main" xmlns="" id="{3DAAACB5-F9BA-47AD-A403-C1FEB505CD9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53533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6">
            <a:extLst>
              <a:ext uri="{FF2B5EF4-FFF2-40B4-BE49-F238E27FC236}">
                <a16:creationId xmlns:a16="http://schemas.microsoft.com/office/drawing/2014/main" xmlns="" id="{BA563421-C308-4E5B-AFAB-2C59C30168F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191126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7" name="Espace réservé pour une image  6">
            <a:extLst>
              <a:ext uri="{FF2B5EF4-FFF2-40B4-BE49-F238E27FC236}">
                <a16:creationId xmlns:a16="http://schemas.microsoft.com/office/drawing/2014/main" xmlns="" id="{9B5B6516-F62C-45A2-925F-A90BB58866B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528719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8" name="Espace réservé pour une image  6">
            <a:extLst>
              <a:ext uri="{FF2B5EF4-FFF2-40B4-BE49-F238E27FC236}">
                <a16:creationId xmlns:a16="http://schemas.microsoft.com/office/drawing/2014/main" xmlns="" id="{C245E10D-6E69-496C-A2B5-54BAADDEF41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866314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30" name="Espace réservé de la date 3">
            <a:extLst>
              <a:ext uri="{FF2B5EF4-FFF2-40B4-BE49-F238E27FC236}">
                <a16:creationId xmlns:a16="http://schemas.microsoft.com/office/drawing/2014/main" xmlns="" id="{8E36535D-58BA-4098-BF98-FB87F0311B6F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E9FD99B-CB4D-4247-9815-6616BD3DEB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9" name="Espace réservé du pied de page 4">
            <a:extLst>
              <a:ext uri="{FF2B5EF4-FFF2-40B4-BE49-F238E27FC236}">
                <a16:creationId xmlns:a16="http://schemas.microsoft.com/office/drawing/2014/main" xmlns="" id="{AAC0BD2F-21A3-4565-A366-E56AF8BC0F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81967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xmlns="" id="{80CB2CAE-DA19-44A0-B562-9B1CC3A19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152127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fr-FR" sz="55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xmlns="" id="{CB788E12-8F9C-47D2-B45B-95CC7630D9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2C237B7-D616-4423-8068-B700FDFA07DD}" type="datetime1">
              <a:rPr lang="fr-FR" smtClean="0">
                <a:solidFill>
                  <a:prstClr val="white"/>
                </a:solidFill>
              </a:rPr>
              <a:pPr defTabSz="121917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87445FF-EB2B-4E36-800B-9411AEB9D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bg1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prstClr val="white"/>
                </a:solidFill>
              </a:rPr>
              <a:t>Révélation PAC 2022 - DAV / DCMO / DRV</a:t>
            </a:r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390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17454C7C-67D1-4C02-9DD8-D4AB0A0B4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5079" y="241929"/>
            <a:ext cx="11113452" cy="1981329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6300"/>
              </a:lnSpc>
              <a:spcBef>
                <a:spcPts val="0"/>
              </a:spcBef>
              <a:buNone/>
              <a:defRPr sz="2900" b="1">
                <a:solidFill>
                  <a:srgbClr val="E6875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64FEED21-5863-466A-828F-8472FB1AB8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931" y="2414535"/>
            <a:ext cx="11113452" cy="3037360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357122" indent="-357122">
              <a:lnSpc>
                <a:spcPts val="2400"/>
              </a:lnSpc>
              <a:spcBef>
                <a:spcPts val="3400"/>
              </a:spcBef>
              <a:spcAft>
                <a:spcPts val="600"/>
              </a:spcAft>
              <a:buFont typeface="+mj-lt"/>
              <a:buAutoNum type="arabicPeriod"/>
              <a:defRPr sz="2000">
                <a:solidFill>
                  <a:srgbClr val="E6875F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1700"/>
              </a:lnSpc>
              <a:spcBef>
                <a:spcPts val="0"/>
              </a:spcBef>
              <a:buFontTx/>
              <a:buNone/>
              <a:defRPr sz="12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986F6F58-5E60-444A-8BE3-BA82C6C960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xmlns="" id="{C0650BFD-8432-4F23-8EE0-080B617DE90A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88DEB8AD-F1C1-4027-AAA7-5026E7541D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DAC61E09-A5E0-46CB-9B60-B30B8F495D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25436533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xmlns="" id="{5955F877-18D3-B34B-AE0C-28BCB9396B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4191" y="1198588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xmlns="" id="{30E4B824-1661-3E49-BAE9-4D25BABCDF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70055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75E6EFB1-20CF-B04F-BEE5-BF800D917148}"/>
              </a:ext>
            </a:extLst>
          </p:cNvPr>
          <p:cNvCxnSpPr/>
          <p:nvPr userDrawn="1"/>
        </p:nvCxnSpPr>
        <p:spPr>
          <a:xfrm>
            <a:off x="0" y="1836169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EE22C74-C621-4549-B2DD-492F43D724EC}"/>
              </a:ext>
            </a:extLst>
          </p:cNvPr>
          <p:cNvSpPr/>
          <p:nvPr userDrawn="1"/>
        </p:nvSpPr>
        <p:spPr>
          <a:xfrm>
            <a:off x="6684929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293CE259-0B00-9445-B58B-AFCA9E593D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58203" y="1198588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xmlns="" id="{3B1F6662-90F2-0643-92A3-71C0E73904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04067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99BECC6-B3FC-0046-97B1-0B7CE4AF51BE}"/>
              </a:ext>
            </a:extLst>
          </p:cNvPr>
          <p:cNvSpPr/>
          <p:nvPr userDrawn="1"/>
        </p:nvSpPr>
        <p:spPr>
          <a:xfrm>
            <a:off x="10018941" y="17171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784F9939-2369-D347-977F-56A5FE93CC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31928" y="1198588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xmlns="" id="{B5C9C343-D588-1847-B08D-D344DCBB5E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77799" y="2061093"/>
            <a:ext cx="3050268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6C2D858-44C3-4041-856A-38C3BAE34034}"/>
              </a:ext>
            </a:extLst>
          </p:cNvPr>
          <p:cNvSpPr/>
          <p:nvPr userDrawn="1"/>
        </p:nvSpPr>
        <p:spPr>
          <a:xfrm>
            <a:off x="3392673" y="174222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xmlns="" id="{78515F5B-90EF-D341-BE19-4352CF111B7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0802" y="2047133"/>
            <a:ext cx="1425017" cy="930011"/>
          </a:xfrm>
          <a:prstGeom prst="rect">
            <a:avLst/>
          </a:prstGeom>
          <a:solidFill>
            <a:schemeClr val="accent4"/>
          </a:solidFill>
        </p:spPr>
        <p:txBody>
          <a:bodyPr anchor="t"/>
          <a:lstStyle>
            <a:lvl1pPr marL="0" indent="0" algn="ctr">
              <a:buNone/>
              <a:defRPr sz="900" b="1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xmlns="" id="{082380A0-C902-BB4D-849B-7496C18AF1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</p:spTree>
    <p:extLst>
      <p:ext uri="{BB962C8B-B14F-4D97-AF65-F5344CB8AC3E}">
        <p14:creationId xmlns:p14="http://schemas.microsoft.com/office/powerpoint/2010/main" val="37472250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F3EDA69-61A5-4FF7-A439-2601D015BA37}"/>
              </a:ext>
            </a:extLst>
          </p:cNvPr>
          <p:cNvSpPr/>
          <p:nvPr userDrawn="1"/>
        </p:nvSpPr>
        <p:spPr>
          <a:xfrm>
            <a:off x="371475" y="5805713"/>
            <a:ext cx="11635833" cy="888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F95884A5-D607-4221-9CF7-5B3FD9CB7A95}"/>
              </a:ext>
            </a:extLst>
          </p:cNvPr>
          <p:cNvSpPr/>
          <p:nvPr userDrawn="1"/>
        </p:nvSpPr>
        <p:spPr>
          <a:xfrm>
            <a:off x="0" y="0"/>
            <a:ext cx="6096000" cy="488405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6" tIns="45718" rIns="91436" bIns="45718" rtlCol="0" anchor="ctr"/>
          <a:lstStyle/>
          <a:p>
            <a:pPr algn="ctr" defTabSz="914354">
              <a:defRPr/>
            </a:pPr>
            <a:endParaRPr lang="fr-FR" kern="0" dirty="0" smtClean="0">
              <a:solidFill>
                <a:prstClr val="white"/>
              </a:solidFill>
            </a:endParaRPr>
          </a:p>
        </p:txBody>
      </p:sp>
      <p:pic>
        <p:nvPicPr>
          <p:cNvPr id="33" name="Picture 2">
            <a:hlinkClick r:id="rId2"/>
            <a:extLst>
              <a:ext uri="{FF2B5EF4-FFF2-40B4-BE49-F238E27FC236}">
                <a16:creationId xmlns="" xmlns:a16="http://schemas.microsoft.com/office/drawing/2014/main" id="{C8B992BC-B9C9-4F95-8E2B-151A4F2C5F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81102" y="1262264"/>
            <a:ext cx="2410991" cy="243579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e 33">
            <a:extLst>
              <a:ext uri="{FF2B5EF4-FFF2-40B4-BE49-F238E27FC236}">
                <a16:creationId xmlns="" xmlns:a16="http://schemas.microsoft.com/office/drawing/2014/main" id="{D2AEFB68-5C60-46CB-842B-D15735058703}"/>
              </a:ext>
            </a:extLst>
          </p:cNvPr>
          <p:cNvGrpSpPr/>
          <p:nvPr userDrawn="1"/>
        </p:nvGrpSpPr>
        <p:grpSpPr>
          <a:xfrm>
            <a:off x="8081101" y="4056204"/>
            <a:ext cx="2410989" cy="382376"/>
            <a:chOff x="7680982" y="4608992"/>
            <a:chExt cx="2410989" cy="382376"/>
          </a:xfrm>
        </p:grpSpPr>
        <p:pic>
          <p:nvPicPr>
            <p:cNvPr id="35" name="Image 34">
              <a:hlinkClick r:id="rId4"/>
              <a:extLst>
                <a:ext uri="{FF2B5EF4-FFF2-40B4-BE49-F238E27FC236}">
                  <a16:creationId xmlns="" xmlns:a16="http://schemas.microsoft.com/office/drawing/2014/main" id="{F6312640-EFB4-4728-AFE6-EFBADAB930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9595" y="4608992"/>
              <a:ext cx="382376" cy="382376"/>
            </a:xfrm>
            <a:prstGeom prst="rect">
              <a:avLst/>
            </a:prstGeom>
          </p:spPr>
        </p:pic>
        <p:pic>
          <p:nvPicPr>
            <p:cNvPr id="36" name="Image 35">
              <a:hlinkClick r:id="rId6"/>
              <a:extLst>
                <a:ext uri="{FF2B5EF4-FFF2-40B4-BE49-F238E27FC236}">
                  <a16:creationId xmlns="" xmlns:a16="http://schemas.microsoft.com/office/drawing/2014/main" id="{82CE114C-CF1C-4E53-B642-579E8FDAD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2441" y="4608992"/>
              <a:ext cx="382376" cy="382376"/>
            </a:xfrm>
            <a:prstGeom prst="rect">
              <a:avLst/>
            </a:prstGeom>
          </p:spPr>
        </p:pic>
        <p:pic>
          <p:nvPicPr>
            <p:cNvPr id="37" name="Image 36">
              <a:hlinkClick r:id="rId8"/>
              <a:extLst>
                <a:ext uri="{FF2B5EF4-FFF2-40B4-BE49-F238E27FC236}">
                  <a16:creationId xmlns="" xmlns:a16="http://schemas.microsoft.com/office/drawing/2014/main" id="{22D4249A-B29C-4178-95D6-700B2330B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288" y="4608992"/>
              <a:ext cx="382376" cy="382376"/>
            </a:xfrm>
            <a:prstGeom prst="rect">
              <a:avLst/>
            </a:prstGeom>
          </p:spPr>
        </p:pic>
        <p:pic>
          <p:nvPicPr>
            <p:cNvPr id="38" name="Image 37">
              <a:hlinkClick r:id="rId10"/>
              <a:extLst>
                <a:ext uri="{FF2B5EF4-FFF2-40B4-BE49-F238E27FC236}">
                  <a16:creationId xmlns="" xmlns:a16="http://schemas.microsoft.com/office/drawing/2014/main" id="{6BE745F4-58D3-40F5-98EC-A84E406E0D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8135" y="4608992"/>
              <a:ext cx="382376" cy="382376"/>
            </a:xfrm>
            <a:prstGeom prst="rect">
              <a:avLst/>
            </a:prstGeom>
          </p:spPr>
        </p:pic>
        <p:pic>
          <p:nvPicPr>
            <p:cNvPr id="39" name="Image 38">
              <a:hlinkClick r:id="rId12"/>
              <a:extLst>
                <a:ext uri="{FF2B5EF4-FFF2-40B4-BE49-F238E27FC236}">
                  <a16:creationId xmlns="" xmlns:a16="http://schemas.microsoft.com/office/drawing/2014/main" id="{B3DEF095-6653-4CA8-AAB6-751EEC0A60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0982" y="4608992"/>
              <a:ext cx="382376" cy="382376"/>
            </a:xfrm>
            <a:prstGeom prst="rect">
              <a:avLst/>
            </a:prstGeom>
          </p:spPr>
        </p:pic>
      </p:grp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DAB92FE6-9711-414B-82A2-C395EF4AAEEF}"/>
              </a:ext>
            </a:extLst>
          </p:cNvPr>
          <p:cNvSpPr/>
          <p:nvPr userDrawn="1"/>
        </p:nvSpPr>
        <p:spPr>
          <a:xfrm>
            <a:off x="6096000" y="6199187"/>
            <a:ext cx="6096000" cy="658815"/>
          </a:xfrm>
          <a:prstGeom prst="rect">
            <a:avLst/>
          </a:prstGeom>
          <a:solidFill>
            <a:srgbClr val="8F73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6" tIns="45718" rIns="91436" bIns="45718" rtlCol="0" anchor="ctr"/>
          <a:lstStyle/>
          <a:p>
            <a:pPr algn="ctr" defTabSz="914354">
              <a:defRPr/>
            </a:pPr>
            <a:endParaRPr lang="fr-FR" kern="0" dirty="0" smtClean="0">
              <a:solidFill>
                <a:prstClr val="white"/>
              </a:solidFill>
            </a:endParaRPr>
          </a:p>
        </p:txBody>
      </p:sp>
      <p:sp>
        <p:nvSpPr>
          <p:cNvPr id="42" name="Titre 1">
            <a:extLst>
              <a:ext uri="{FF2B5EF4-FFF2-40B4-BE49-F238E27FC236}">
                <a16:creationId xmlns="" xmlns:a16="http://schemas.microsoft.com/office/drawing/2014/main" id="{C3E24380-7F52-4BF4-8FAF-ADCF3945FE3C}"/>
              </a:ext>
            </a:extLst>
          </p:cNvPr>
          <p:cNvSpPr txBox="1">
            <a:spLocks/>
          </p:cNvSpPr>
          <p:nvPr userDrawn="1"/>
        </p:nvSpPr>
        <p:spPr>
          <a:xfrm>
            <a:off x="7892135" y="4384315"/>
            <a:ext cx="2788920" cy="5538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2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pPr defTabSz="914354">
              <a:defRPr/>
            </a:pPr>
            <a:r>
              <a:rPr lang="fr-FR" sz="1600" dirty="0">
                <a:solidFill>
                  <a:srgbClr val="5B6971"/>
                </a:solidFill>
              </a:rPr>
              <a:t>@groupecovea - covea.eu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2160415"/>
            <a:ext cx="4686664" cy="563231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fr-FR" dirty="0" smtClean="0"/>
              <a:t>Mot de fi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203840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0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6" y="5807582"/>
            <a:ext cx="726295" cy="757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4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6" y="4621976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6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6"/>
            <a:ext cx="12192000" cy="823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7C652D5C-354E-4F95-9E27-AE103543BEA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5" y="6034606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23C7FA7C-FD06-4FB8-8017-073CECDCB72D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C3D40BBF-944A-416E-B91B-177D507055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4" y="1430716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226925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APL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6" y="5807582"/>
            <a:ext cx="726295" cy="757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4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6" y="4621976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6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6"/>
            <a:ext cx="12192000" cy="823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xmlns="" id="{7AF59C7F-B8CA-4A9E-9002-DB7FA0A9DC50}"/>
              </a:ext>
            </a:extLst>
          </p:cNvPr>
          <p:cNvSpPr/>
          <p:nvPr userDrawn="1"/>
        </p:nvSpPr>
        <p:spPr>
          <a:xfrm>
            <a:off x="0" y="2387601"/>
            <a:ext cx="6096000" cy="4470399"/>
          </a:xfrm>
          <a:custGeom>
            <a:avLst/>
            <a:gdLst>
              <a:gd name="connsiteX0" fmla="*/ 0 w 6096000"/>
              <a:gd name="connsiteY0" fmla="*/ 0 h 4470399"/>
              <a:gd name="connsiteX1" fmla="*/ 6096000 w 6096000"/>
              <a:gd name="connsiteY1" fmla="*/ 0 h 4470399"/>
              <a:gd name="connsiteX2" fmla="*/ 6096000 w 6096000"/>
              <a:gd name="connsiteY2" fmla="*/ 4470399 h 4470399"/>
              <a:gd name="connsiteX3" fmla="*/ 0 w 6096000"/>
              <a:gd name="connsiteY3" fmla="*/ 4470399 h 447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4470399">
                <a:moveTo>
                  <a:pt x="0" y="0"/>
                </a:moveTo>
                <a:lnTo>
                  <a:pt x="6096000" y="0"/>
                </a:lnTo>
                <a:lnTo>
                  <a:pt x="6096000" y="4470399"/>
                </a:lnTo>
                <a:lnTo>
                  <a:pt x="0" y="44703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8EFC1F0-C777-4C30-97A6-D0218670454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5" y="6034606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1C6EF76-33AD-4D97-9A30-523AF2C04B75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C39EE73-D8D9-41FA-B8A6-E49888A68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4" y="1430716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187925513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0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6" y="5807582"/>
            <a:ext cx="726295" cy="7578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4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6" y="4621976"/>
            <a:ext cx="4151085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6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43F3B31-46E5-4369-B906-4C4F081A9F87}"/>
              </a:ext>
            </a:extLst>
          </p:cNvPr>
          <p:cNvSpPr/>
          <p:nvPr userDrawn="1"/>
        </p:nvSpPr>
        <p:spPr>
          <a:xfrm>
            <a:off x="0" y="6034606"/>
            <a:ext cx="12192000" cy="8233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528044B-FC8F-4D4C-A450-E3037108D40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5" y="6034606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A475E32-5E1D-448F-91C8-7A53C31BCBA2}" type="datetime1">
              <a:rPr lang="fr-FR" smtClean="0">
                <a:solidFill>
                  <a:prstClr val="white"/>
                </a:solidFill>
              </a:rPr>
              <a:pPr defTabSz="91440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85E6E4B5-D86D-4822-8FC8-7CE3723579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393280"/>
            <a:ext cx="4151085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52905509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xmlns="" id="{5C80AA35-0471-4203-B6C1-7866EE61ED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306084" cy="5915218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xmlns="" id="{D2E6CB0B-970B-40B0-96E6-1EF9244A48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2107060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xmlns="" id="{A2F7116B-AFF5-4CEF-8363-908E28B67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1521272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494488A-93AD-44D5-A784-4A7BE3366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96F3BD23-9740-4E06-8CB8-575FEA355BE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D9608C9-07E0-4574-839D-26D4E5A3B89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346728B-F008-44A2-803D-AD096BFC1D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63996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0EF7202-CABE-48B8-9D8F-2838BAB6A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4C6B0E88-AA84-4823-AB4B-335B134487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CF58C1F1-BA5F-48A4-94B6-4581E0BEC7D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E72C683-1160-4768-980E-BF3323862B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51758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638C6941-90EF-482F-A340-4DC3EAB04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AC2821E-5880-4028-89E0-33241DD90FF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BD2A2C52-171A-46B0-B066-006D8E0D7CA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D226DB2-172A-4700-828F-F960B2037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173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dirty="0" smtClean="0">
                <a:solidFill>
                  <a:srgbClr val="5B6971"/>
                </a:solidFill>
              </a:rPr>
              <a:t>Comite </a:t>
            </a:r>
            <a:r>
              <a:rPr lang="fr-FR" dirty="0" err="1" smtClean="0">
                <a:solidFill>
                  <a:srgbClr val="5B6971"/>
                </a:solidFill>
              </a:rPr>
              <a:t>dE</a:t>
            </a:r>
            <a:r>
              <a:rPr lang="fr-FR" dirty="0" smtClean="0">
                <a:solidFill>
                  <a:srgbClr val="5B6971"/>
                </a:solidFill>
              </a:rPr>
              <a:t> projet/ DA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0887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5041278-7EFF-4A3B-86F5-E47FF494F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6349CB34-ECFF-4CBD-A4ED-AC4CD1473E0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476A475B-ED5F-4B3F-BDA1-FB9BCA14225A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7C90BEE6-A444-4342-808D-2947F2EE3A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01542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D2167A1-0CC8-407A-ADC6-E41D9248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575EED5D-C3C3-49FB-B3A6-C33B8B91DBC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B7097614-4C4E-48CC-A8E5-E9EF8DD15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dirty="0" smtClean="0">
                <a:solidFill>
                  <a:srgbClr val="5B6971"/>
                </a:solidFill>
              </a:rPr>
              <a:t>Comite de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/ DA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81333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FA025740-A42B-4245-B379-045F2903F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F29D8C42-48F6-40B2-A0BF-F73E1F90010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EF183737-360E-4286-A3F7-936A95CA7DE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F1E8993-ACF8-44DD-8A6B-E5A4C4EF6E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31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0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05" y="211720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967498" y="1693988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9215" y="193204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E4CD00-F526-C947-AE4B-4AC61F764576}"/>
              </a:ext>
            </a:extLst>
          </p:cNvPr>
          <p:cNvSpPr/>
          <p:nvPr userDrawn="1"/>
        </p:nvSpPr>
        <p:spPr>
          <a:xfrm>
            <a:off x="4524927" y="1696075"/>
            <a:ext cx="3185407" cy="4211135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xmlns="" id="{47FCE1F7-41C7-4949-AEBD-B2E74A56375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76647" y="1934125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1055218" y="1683540"/>
            <a:ext cx="3185407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6935" y="1921600"/>
            <a:ext cx="2704628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FF0D1546-DEE9-4848-950F-93266B2BCF8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809933" y="110586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33501" y="110745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680300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16AB2E48-C4EA-4FD0-BC9C-1D23FAC68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D79A2E5-5F4C-4A2E-8B8A-7CC8637A83A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DE74DCF-4EFA-4606-AD88-1A230533A69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286CEF6-0CDC-452D-B1FD-68106DE22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89077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B9129676-F1A7-4BEF-AE8C-CEAFFAEB3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2092A64A-34B8-4C1B-A4C9-DD2DA811EC9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74C96BC8-2563-40F9-8B2A-9B5A53EB5D9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B94CE990-D34A-4542-B0A0-7BDCA0417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32371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0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6" y="3429000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284321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5F425827-C777-4641-9D73-E99B91B45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BAE57E4B-19B1-4649-B10E-ECCCE6C3C4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239D43F3-0C5A-4309-8711-911402A67057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AEEA620D-A463-4452-A6FC-673B193CF6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58374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882402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251581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401058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387627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4D1F83DB-65DA-4D62-BEBF-E37AB744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E0770E61-974C-4DEC-9394-5E0D0392612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91339AA-4066-489D-ABA3-44B42F804539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AC720E4-4105-47E6-B12A-12855991B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37123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3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5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0" y="4761936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190410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339888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1" y="489365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EEC09ECA-7631-4E80-8398-EC973357D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2D400CE2-8287-46B5-8D92-C2D7EEFAE83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2F9FD76-F5C1-4AF4-9B66-C995920852E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8F3ABAF9-49A4-4F91-AC21-B058780C86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79306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4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4066760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4066759"/>
            <a:ext cx="788274" cy="654834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5605624" y="2575519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270017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419494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3" y="270017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3" y="419494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571985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xmlns="" id="{168A2226-2478-4DB6-BEC4-1185590D14BE}"/>
              </a:ext>
            </a:extLst>
          </p:cNvPr>
          <p:cNvCxnSpPr>
            <a:cxnSpLocks/>
          </p:cNvCxnSpPr>
          <p:nvPr userDrawn="1"/>
        </p:nvCxnSpPr>
        <p:spPr>
          <a:xfrm>
            <a:off x="371475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4305C75D-3A35-4E69-9F5E-1C8A2BF3D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5" name="Espace réservé de la date 3">
            <a:extLst>
              <a:ext uri="{FF2B5EF4-FFF2-40B4-BE49-F238E27FC236}">
                <a16:creationId xmlns:a16="http://schemas.microsoft.com/office/drawing/2014/main" xmlns="" id="{33E6B89B-6A15-4D57-B2E6-2AE412BF5A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D2DE599-9D1D-4A44-9154-29BF7491EA59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xmlns="" id="{1EB5BED6-B91D-4124-BD85-DB416808AF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664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5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7"/>
            <a:ext cx="0" cy="2936582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5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0"/>
            <a:ext cx="788274" cy="654834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2" y="3270695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0" y="4761936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190410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339888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1" y="489365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3" y="190410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3" y="339888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877B18D-A935-48AA-BB8E-D923744FFE7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56ADF8D8-D6CD-468C-9C08-50F3F8FB9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3929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5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0"/>
            <a:ext cx="788274" cy="654834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2" y="3270695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6" y="4761494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0" y="4761936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190410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339888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1" y="489365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3" y="190410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3" y="339888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3" y="489365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9D15F45-6FB5-4ECF-8044-ED15DEE1B77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5980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7"/>
            <a:ext cx="0" cy="3212353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2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6" y="4730796"/>
            <a:ext cx="788274" cy="654834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2" y="171374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6" y="2718801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0" y="3733636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18423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284720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1" y="386182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3" y="18423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3" y="284720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3" y="386182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9D15F45-6FB5-4ECF-8044-ED15DEE1B77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1" y="485898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799" y="3730208"/>
            <a:ext cx="756045" cy="661690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48696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7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2"/>
            <a:ext cx="725972" cy="654834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6" y="4730796"/>
            <a:ext cx="788274" cy="654834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2" y="171374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6" y="2718801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0" y="3733636"/>
            <a:ext cx="722437" cy="654834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1" y="18423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1" y="284720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1" y="386182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3" y="18423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3" y="284720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3" y="386182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9D15F45-6FB5-4ECF-8044-ED15DEE1B77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1" y="485898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xmlns="" id="{BA68D562-F1C6-47A1-9649-4724F4D5E4C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563" y="4858982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799" y="3730208"/>
            <a:ext cx="756045" cy="661690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10088E53-F181-4EED-BB1A-525FB279D586}"/>
              </a:ext>
            </a:extLst>
          </p:cNvPr>
          <p:cNvSpPr txBox="1"/>
          <p:nvPr userDrawn="1"/>
        </p:nvSpPr>
        <p:spPr>
          <a:xfrm>
            <a:off x="5611132" y="4727368"/>
            <a:ext cx="764528" cy="661690"/>
          </a:xfrm>
          <a:custGeom>
            <a:avLst/>
            <a:gdLst/>
            <a:ahLst/>
            <a:cxnLst/>
            <a:rect l="l" t="t" r="r" b="b"/>
            <a:pathLst>
              <a:path w="764528" h="661690">
                <a:moveTo>
                  <a:pt x="551109" y="344686"/>
                </a:moveTo>
                <a:cubicBezTo>
                  <a:pt x="535035" y="344686"/>
                  <a:pt x="520078" y="347588"/>
                  <a:pt x="506237" y="353392"/>
                </a:cubicBezTo>
                <a:cubicBezTo>
                  <a:pt x="492396" y="359197"/>
                  <a:pt x="480490" y="367382"/>
                  <a:pt x="470518" y="377949"/>
                </a:cubicBezTo>
                <a:cubicBezTo>
                  <a:pt x="460547" y="388516"/>
                  <a:pt x="452733" y="401092"/>
                  <a:pt x="447078" y="415677"/>
                </a:cubicBezTo>
                <a:cubicBezTo>
                  <a:pt x="441422" y="430262"/>
                  <a:pt x="438595" y="446187"/>
                  <a:pt x="438595" y="463451"/>
                </a:cubicBezTo>
                <a:cubicBezTo>
                  <a:pt x="438595" y="481608"/>
                  <a:pt x="441273" y="497979"/>
                  <a:pt x="446631" y="512564"/>
                </a:cubicBezTo>
                <a:cubicBezTo>
                  <a:pt x="451989" y="527149"/>
                  <a:pt x="459579" y="539502"/>
                  <a:pt x="469402" y="549622"/>
                </a:cubicBezTo>
                <a:cubicBezTo>
                  <a:pt x="479225" y="559743"/>
                  <a:pt x="491056" y="567482"/>
                  <a:pt x="504897" y="572839"/>
                </a:cubicBezTo>
                <a:cubicBezTo>
                  <a:pt x="518739" y="578197"/>
                  <a:pt x="534142" y="580876"/>
                  <a:pt x="551109" y="580876"/>
                </a:cubicBezTo>
                <a:cubicBezTo>
                  <a:pt x="567480" y="580876"/>
                  <a:pt x="582511" y="578123"/>
                  <a:pt x="596204" y="572616"/>
                </a:cubicBezTo>
                <a:cubicBezTo>
                  <a:pt x="609896" y="567110"/>
                  <a:pt x="621728" y="559222"/>
                  <a:pt x="631699" y="548953"/>
                </a:cubicBezTo>
                <a:cubicBezTo>
                  <a:pt x="641671" y="538683"/>
                  <a:pt x="649484" y="526331"/>
                  <a:pt x="655139" y="511894"/>
                </a:cubicBezTo>
                <a:cubicBezTo>
                  <a:pt x="660795" y="497458"/>
                  <a:pt x="663623" y="481310"/>
                  <a:pt x="663623" y="463451"/>
                </a:cubicBezTo>
                <a:cubicBezTo>
                  <a:pt x="663623" y="447080"/>
                  <a:pt x="660944" y="431676"/>
                  <a:pt x="655586" y="417240"/>
                </a:cubicBezTo>
                <a:cubicBezTo>
                  <a:pt x="650228" y="402803"/>
                  <a:pt x="642638" y="390227"/>
                  <a:pt x="632815" y="379512"/>
                </a:cubicBezTo>
                <a:cubicBezTo>
                  <a:pt x="622993" y="368796"/>
                  <a:pt x="611161" y="360313"/>
                  <a:pt x="597320" y="354062"/>
                </a:cubicBezTo>
                <a:cubicBezTo>
                  <a:pt x="583479" y="347811"/>
                  <a:pt x="568075" y="344686"/>
                  <a:pt x="551109" y="344686"/>
                </a:cubicBezTo>
                <a:close/>
                <a:moveTo>
                  <a:pt x="550216" y="79921"/>
                </a:moveTo>
                <a:cubicBezTo>
                  <a:pt x="536821" y="79921"/>
                  <a:pt x="524617" y="82376"/>
                  <a:pt x="513604" y="87288"/>
                </a:cubicBezTo>
                <a:cubicBezTo>
                  <a:pt x="502591" y="92199"/>
                  <a:pt x="493140" y="98971"/>
                  <a:pt x="485252" y="107603"/>
                </a:cubicBezTo>
                <a:cubicBezTo>
                  <a:pt x="477364" y="116235"/>
                  <a:pt x="471262" y="126281"/>
                  <a:pt x="466946" y="137740"/>
                </a:cubicBezTo>
                <a:cubicBezTo>
                  <a:pt x="462630" y="149200"/>
                  <a:pt x="460472" y="161330"/>
                  <a:pt x="460472" y="174129"/>
                </a:cubicBezTo>
                <a:cubicBezTo>
                  <a:pt x="460472" y="187523"/>
                  <a:pt x="462854" y="199951"/>
                  <a:pt x="467616" y="211410"/>
                </a:cubicBezTo>
                <a:cubicBezTo>
                  <a:pt x="472379" y="222870"/>
                  <a:pt x="478778" y="232842"/>
                  <a:pt x="486815" y="241325"/>
                </a:cubicBezTo>
                <a:cubicBezTo>
                  <a:pt x="494852" y="249808"/>
                  <a:pt x="504302" y="256431"/>
                  <a:pt x="515167" y="261193"/>
                </a:cubicBezTo>
                <a:cubicBezTo>
                  <a:pt x="526031" y="265956"/>
                  <a:pt x="537714" y="268337"/>
                  <a:pt x="550216" y="268337"/>
                </a:cubicBezTo>
                <a:cubicBezTo>
                  <a:pt x="562717" y="268337"/>
                  <a:pt x="574400" y="265881"/>
                  <a:pt x="585265" y="260970"/>
                </a:cubicBezTo>
                <a:cubicBezTo>
                  <a:pt x="596129" y="256059"/>
                  <a:pt x="605654" y="249362"/>
                  <a:pt x="613840" y="240878"/>
                </a:cubicBezTo>
                <a:cubicBezTo>
                  <a:pt x="622025" y="232395"/>
                  <a:pt x="628499" y="222424"/>
                  <a:pt x="633262" y="210964"/>
                </a:cubicBezTo>
                <a:cubicBezTo>
                  <a:pt x="638024" y="199504"/>
                  <a:pt x="640406" y="187226"/>
                  <a:pt x="640406" y="174129"/>
                </a:cubicBezTo>
                <a:cubicBezTo>
                  <a:pt x="640406" y="160734"/>
                  <a:pt x="638099" y="148233"/>
                  <a:pt x="633485" y="136624"/>
                </a:cubicBezTo>
                <a:cubicBezTo>
                  <a:pt x="628871" y="125016"/>
                  <a:pt x="622546" y="115044"/>
                  <a:pt x="614509" y="106710"/>
                </a:cubicBezTo>
                <a:cubicBezTo>
                  <a:pt x="606473" y="98375"/>
                  <a:pt x="596948" y="91827"/>
                  <a:pt x="585934" y="87064"/>
                </a:cubicBezTo>
                <a:cubicBezTo>
                  <a:pt x="574921" y="82302"/>
                  <a:pt x="563015" y="79921"/>
                  <a:pt x="550216" y="79921"/>
                </a:cubicBezTo>
                <a:close/>
                <a:moveTo>
                  <a:pt x="549769" y="0"/>
                </a:moveTo>
                <a:cubicBezTo>
                  <a:pt x="577451" y="0"/>
                  <a:pt x="602975" y="4167"/>
                  <a:pt x="626341" y="12502"/>
                </a:cubicBezTo>
                <a:cubicBezTo>
                  <a:pt x="649707" y="20836"/>
                  <a:pt x="669948" y="32296"/>
                  <a:pt x="687063" y="46881"/>
                </a:cubicBezTo>
                <a:cubicBezTo>
                  <a:pt x="704178" y="61466"/>
                  <a:pt x="717499" y="78730"/>
                  <a:pt x="727024" y="98673"/>
                </a:cubicBezTo>
                <a:cubicBezTo>
                  <a:pt x="736549" y="118616"/>
                  <a:pt x="741311" y="140196"/>
                  <a:pt x="741311" y="163413"/>
                </a:cubicBezTo>
                <a:cubicBezTo>
                  <a:pt x="741311" y="192881"/>
                  <a:pt x="733125" y="219745"/>
                  <a:pt x="716754" y="244004"/>
                </a:cubicBezTo>
                <a:cubicBezTo>
                  <a:pt x="700383" y="268263"/>
                  <a:pt x="678654" y="288131"/>
                  <a:pt x="651568" y="303609"/>
                </a:cubicBezTo>
                <a:cubicBezTo>
                  <a:pt x="670022" y="310753"/>
                  <a:pt x="686319" y="320055"/>
                  <a:pt x="700458" y="331515"/>
                </a:cubicBezTo>
                <a:cubicBezTo>
                  <a:pt x="714596" y="342974"/>
                  <a:pt x="726428" y="355997"/>
                  <a:pt x="735953" y="370582"/>
                </a:cubicBezTo>
                <a:cubicBezTo>
                  <a:pt x="745478" y="385167"/>
                  <a:pt x="752622" y="401092"/>
                  <a:pt x="757384" y="418356"/>
                </a:cubicBezTo>
                <a:cubicBezTo>
                  <a:pt x="762147" y="435620"/>
                  <a:pt x="764528" y="453628"/>
                  <a:pt x="764528" y="472380"/>
                </a:cubicBezTo>
                <a:cubicBezTo>
                  <a:pt x="764528" y="500360"/>
                  <a:pt x="759319" y="525959"/>
                  <a:pt x="748901" y="549176"/>
                </a:cubicBezTo>
                <a:cubicBezTo>
                  <a:pt x="738483" y="572393"/>
                  <a:pt x="723898" y="592262"/>
                  <a:pt x="705146" y="608781"/>
                </a:cubicBezTo>
                <a:cubicBezTo>
                  <a:pt x="686393" y="625301"/>
                  <a:pt x="663920" y="638175"/>
                  <a:pt x="637727" y="647402"/>
                </a:cubicBezTo>
                <a:cubicBezTo>
                  <a:pt x="611533" y="656630"/>
                  <a:pt x="582660" y="661243"/>
                  <a:pt x="551109" y="661243"/>
                </a:cubicBezTo>
                <a:cubicBezTo>
                  <a:pt x="519855" y="661243"/>
                  <a:pt x="491205" y="656630"/>
                  <a:pt x="465160" y="647402"/>
                </a:cubicBezTo>
                <a:cubicBezTo>
                  <a:pt x="439115" y="638175"/>
                  <a:pt x="416642" y="625301"/>
                  <a:pt x="397741" y="608781"/>
                </a:cubicBezTo>
                <a:cubicBezTo>
                  <a:pt x="378840" y="592262"/>
                  <a:pt x="364106" y="572393"/>
                  <a:pt x="353539" y="549176"/>
                </a:cubicBezTo>
                <a:cubicBezTo>
                  <a:pt x="342972" y="525959"/>
                  <a:pt x="337689" y="500360"/>
                  <a:pt x="337689" y="472380"/>
                </a:cubicBezTo>
                <a:cubicBezTo>
                  <a:pt x="337689" y="453926"/>
                  <a:pt x="339996" y="436066"/>
                  <a:pt x="344610" y="418802"/>
                </a:cubicBezTo>
                <a:cubicBezTo>
                  <a:pt x="349223" y="401538"/>
                  <a:pt x="356144" y="385614"/>
                  <a:pt x="365371" y="371029"/>
                </a:cubicBezTo>
                <a:cubicBezTo>
                  <a:pt x="374598" y="356443"/>
                  <a:pt x="386207" y="343347"/>
                  <a:pt x="400197" y="331738"/>
                </a:cubicBezTo>
                <a:cubicBezTo>
                  <a:pt x="414187" y="320129"/>
                  <a:pt x="430558" y="310753"/>
                  <a:pt x="449310" y="303609"/>
                </a:cubicBezTo>
                <a:cubicBezTo>
                  <a:pt x="421628" y="288131"/>
                  <a:pt x="399602" y="268263"/>
                  <a:pt x="383231" y="244004"/>
                </a:cubicBezTo>
                <a:cubicBezTo>
                  <a:pt x="366859" y="219745"/>
                  <a:pt x="358674" y="192881"/>
                  <a:pt x="358674" y="163413"/>
                </a:cubicBezTo>
                <a:cubicBezTo>
                  <a:pt x="358674" y="139898"/>
                  <a:pt x="363511" y="118170"/>
                  <a:pt x="373185" y="98227"/>
                </a:cubicBezTo>
                <a:cubicBezTo>
                  <a:pt x="382858" y="78284"/>
                  <a:pt x="396253" y="61020"/>
                  <a:pt x="413368" y="46434"/>
                </a:cubicBezTo>
                <a:cubicBezTo>
                  <a:pt x="430483" y="31849"/>
                  <a:pt x="450650" y="20464"/>
                  <a:pt x="473867" y="12278"/>
                </a:cubicBezTo>
                <a:cubicBezTo>
                  <a:pt x="497084" y="4093"/>
                  <a:pt x="522385" y="0"/>
                  <a:pt x="549769" y="0"/>
                </a:cubicBez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365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0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05" y="211720"/>
            <a:ext cx="561259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E098D95-412F-8D4F-A29D-85F0943D718B}"/>
              </a:ext>
            </a:extLst>
          </p:cNvPr>
          <p:cNvSpPr/>
          <p:nvPr userDrawn="1"/>
        </p:nvSpPr>
        <p:spPr>
          <a:xfrm>
            <a:off x="7133955" y="1693988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2523C6E0-168A-6944-9AF9-383B4AB1E8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11489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6C8F75F-3FD0-704F-99C8-C8C602C7A2B8}"/>
              </a:ext>
            </a:extLst>
          </p:cNvPr>
          <p:cNvSpPr/>
          <p:nvPr userDrawn="1"/>
        </p:nvSpPr>
        <p:spPr>
          <a:xfrm>
            <a:off x="682071" y="1693988"/>
            <a:ext cx="4018940" cy="421113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xmlns="" id="{4C89ED99-182D-0147-A508-7082204080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59605" y="1932040"/>
            <a:ext cx="3412355" cy="38450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pour une image  7">
            <a:extLst>
              <a:ext uri="{FF2B5EF4-FFF2-40B4-BE49-F238E27FC236}">
                <a16:creationId xmlns:a16="http://schemas.microsoft.com/office/drawing/2014/main" xmlns="" id="{0BC57606-09D3-E441-B2E7-5AA25D42E0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421225" y="110586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>
            <a:extLst>
              <a:ext uri="{FF2B5EF4-FFF2-40B4-BE49-F238E27FC236}">
                <a16:creationId xmlns:a16="http://schemas.microsoft.com/office/drawing/2014/main" xmlns="" id="{46DD7963-6F29-FC44-9059-111158C1444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92469" y="110586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36500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D41FA7D-DDB7-4F4B-9C9E-21F608ED03B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xmlns="" id="{A7CA037B-8857-4C53-8EAB-EDD558ADF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03" y="1512743"/>
            <a:ext cx="10937872" cy="40462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367369B-417F-40FB-99A2-E10AEF792B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F94117B4-6B84-4BF8-91AB-035F88594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6113353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PROJ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CD4C7E74-C453-45AC-AC94-C7FE2D559C59}"/>
              </a:ext>
            </a:extLst>
          </p:cNvPr>
          <p:cNvSpPr txBox="1"/>
          <p:nvPr userDrawn="1"/>
        </p:nvSpPr>
        <p:spPr>
          <a:xfrm>
            <a:off x="1341120" y="2105562"/>
            <a:ext cx="9509760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fr-FR" sz="16600" dirty="0">
                <a:solidFill>
                  <a:prstClr val="white">
                    <a:lumMod val="95000"/>
                  </a:prstClr>
                </a:solidFill>
              </a:rPr>
              <a:t>PROJET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0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90FA7DF8-CB41-41A7-8CB4-20AED0AFD58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683575-36AF-4D09-81B6-6B1B7BB89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15138628-8A7F-4635-B3F7-426426462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1222123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CONFIDEN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0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9077227-DE0A-4FA4-A147-074E3DC25145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BBA8B754-8573-4A77-8067-2C923206FF45}"/>
              </a:ext>
            </a:extLst>
          </p:cNvPr>
          <p:cNvSpPr txBox="1"/>
          <p:nvPr userDrawn="1"/>
        </p:nvSpPr>
        <p:spPr>
          <a:xfrm>
            <a:off x="716280" y="2644170"/>
            <a:ext cx="10759440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fr-FR" sz="9600" dirty="0">
                <a:solidFill>
                  <a:prstClr val="white">
                    <a:lumMod val="95000"/>
                  </a:prstClr>
                </a:solidFill>
              </a:rPr>
              <a:t>CONFIDENTIEL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C2CD7F9A-402E-429F-8F84-77F22BC24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09F7F5B4-36CA-410D-8404-46E3795E2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89529614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8EA357B-8F29-4B7E-9989-7EF86FC80705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D74337E-6E73-4EAB-99AC-39F61A3C76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0114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335133D-A5DF-49B1-A749-146C8C8E176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F8F19E19-68CD-49AB-9754-6A7CCA40E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92857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3C89826-3AEB-4CFD-8292-918376C3A21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74A49C26-296F-4650-B0D8-82FFD3131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23620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70F81A9F-7661-4B9F-8B67-7F04E0ED63B5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DED61E90-8286-4ED3-8568-5477E1F847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67710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23F4C5AD-6983-4D35-8A60-B8E6C8E2E92A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A60784C-F81B-43EB-A4E6-8EEB422595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59774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SAUM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E1E00D60-4C9E-4426-8629-E92081B31A2A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5387DC19-F771-4D83-B928-120E36FF3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99818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74ED783-7829-4925-AB8A-F44057F0546B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DBD17E9-24FF-46A9-9B2D-A1893ABE76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544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9"/>
            <a:ext cx="2628693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76" y="1391490"/>
            <a:ext cx="231250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3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79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76685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6"/>
            <a:ext cx="10481202" cy="5857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0"/>
            <a:ext cx="10481202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1FE226-EA9C-4DB0-9DFB-CD7EAE32048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6" y="230029"/>
            <a:ext cx="631017" cy="63101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DF50F0DD-01D1-45BC-BD82-A5EAE56C16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8272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1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5384798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0"/>
            <a:ext cx="5384800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93EF4EFD-6186-48B6-AEAB-F8EB3D2A2509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7600" y="1028470"/>
            <a:ext cx="1823950" cy="1823950"/>
          </a:xfr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A12BF44C-2B46-485B-A639-8F8595FCB1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3050" y="3055620"/>
            <a:ext cx="3513050" cy="2240280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836A1F14-B48D-439C-9E67-9A47F1B3D8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54747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5384798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0"/>
            <a:ext cx="6718299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9CB7D95-7733-4B5C-BB5A-6F4A480DC3E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81900" y="809624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xmlns="" id="{77B2FE61-0C22-4D36-A924-135A84743A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6225" y="809624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xmlns="" id="{C9052613-25C8-437B-BC4A-06FF08BC3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1900" y="2066122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xmlns="" id="{4B178C7D-F1AC-4431-982C-69EC09DE99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76225" y="2066122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xmlns="" id="{3BFDAF50-B2F7-441D-897F-A91F0733815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581900" y="3322620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3">
            <a:extLst>
              <a:ext uri="{FF2B5EF4-FFF2-40B4-BE49-F238E27FC236}">
                <a16:creationId xmlns:a16="http://schemas.microsoft.com/office/drawing/2014/main" xmlns="" id="{47B54CFE-4903-4F70-A159-08F044B656E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76225" y="3322620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3">
            <a:extLst>
              <a:ext uri="{FF2B5EF4-FFF2-40B4-BE49-F238E27FC236}">
                <a16:creationId xmlns:a16="http://schemas.microsoft.com/office/drawing/2014/main" xmlns="" id="{817CB54D-1AD2-4936-B1D1-9B1D374B17D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81900" y="4579119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B8E550A9-3CF4-470C-B94C-6CF8EC6CDCB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76225" y="4579119"/>
            <a:ext cx="1122450" cy="1122450"/>
          </a:xfrm>
        </p:spPr>
        <p:txBody>
          <a:bodyPr/>
          <a:lstStyle/>
          <a:p>
            <a:endParaRPr lang="fr-FR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B35536D8-EE9D-426B-9AE8-4F9A5147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45294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39" y="286678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1" y="805481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421606"/>
            <a:ext cx="3673630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78"/>
            <a:ext cx="2231796" cy="1478643"/>
          </a:xfrm>
          <a:solidFill>
            <a:schemeClr val="bg2"/>
          </a:solidFill>
        </p:spPr>
        <p:txBody>
          <a:bodyPr lIns="360000" tIns="360000" rIns="360000" bIns="360000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3050" indent="-171450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250" indent="-171450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7689CC5C-EE86-489D-A9F6-AB9F9FD2E37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23CEB73-9E1C-40C3-AB9C-D081D76ED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35369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39" y="286678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1" y="805481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421606"/>
            <a:ext cx="3673630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78"/>
            <a:ext cx="2231796" cy="1478643"/>
          </a:xfrm>
          <a:solidFill>
            <a:schemeClr val="accent5"/>
          </a:solidFill>
        </p:spPr>
        <p:txBody>
          <a:bodyPr lIns="360000" tIns="360000" rIns="360000" bIns="360000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3050" indent="-171450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250" indent="-171450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E068B934-47D7-495B-B8AC-0B407780B2A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EA5D0C3-F7E4-468C-90E5-D779F92960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0983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4 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10364886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xmlns="" id="{2C76294A-1998-4304-B770-CFCF7E4AF6DD}"/>
              </a:ext>
            </a:extLst>
          </p:cNvPr>
          <p:cNvGrpSpPr/>
          <p:nvPr userDrawn="1"/>
        </p:nvGrpSpPr>
        <p:grpSpPr>
          <a:xfrm>
            <a:off x="980708" y="1653896"/>
            <a:ext cx="2771410" cy="4193144"/>
            <a:chOff x="4618653" y="2171908"/>
            <a:chExt cx="2938924" cy="4446592"/>
          </a:xfrm>
        </p:grpSpPr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xmlns="" id="{8B4151C9-1F90-423E-A0E4-162D8FC57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xmlns="" id="{7D42B985-C58B-4203-BC88-CDEBF62EEC44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1440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Espace réservé pour une image  13">
            <a:extLst>
              <a:ext uri="{FF2B5EF4-FFF2-40B4-BE49-F238E27FC236}">
                <a16:creationId xmlns:a16="http://schemas.microsoft.com/office/drawing/2014/main" xmlns="" id="{FD2AA9AA-BE97-421C-AD50-433ED59B36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76863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72630C35-AE06-4C29-A0C4-BBBC74B4BC19}"/>
              </a:ext>
            </a:extLst>
          </p:cNvPr>
          <p:cNvGrpSpPr/>
          <p:nvPr userDrawn="1"/>
        </p:nvGrpSpPr>
        <p:grpSpPr>
          <a:xfrm>
            <a:off x="3464290" y="1653896"/>
            <a:ext cx="2771410" cy="4193144"/>
            <a:chOff x="4618653" y="2171908"/>
            <a:chExt cx="2938924" cy="4446592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xmlns="" id="{93A61531-9990-4B27-9208-1B6B888ED0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xmlns="" id="{405D35F2-86F6-44F5-9053-D9952AB4BE91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1440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2" name="Espace réservé pour une image  13">
            <a:extLst>
              <a:ext uri="{FF2B5EF4-FFF2-40B4-BE49-F238E27FC236}">
                <a16:creationId xmlns:a16="http://schemas.microsoft.com/office/drawing/2014/main" xmlns="" id="{66670318-6609-48D0-8B6A-9AA383DB4C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0445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xmlns="" id="{D28E1024-3750-4AF3-BD15-C1776FF8DDBE}"/>
              </a:ext>
            </a:extLst>
          </p:cNvPr>
          <p:cNvGrpSpPr/>
          <p:nvPr userDrawn="1"/>
        </p:nvGrpSpPr>
        <p:grpSpPr>
          <a:xfrm>
            <a:off x="5957495" y="1653896"/>
            <a:ext cx="2771410" cy="4193144"/>
            <a:chOff x="4618653" y="2171908"/>
            <a:chExt cx="2938924" cy="4446592"/>
          </a:xfrm>
        </p:grpSpPr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xmlns="" id="{D8450ECB-002C-4424-A6B5-C6994A1C4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xmlns="" id="{AB1661DF-5F8F-4901-8287-BC1B82ECDF15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1440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6" name="Espace réservé pour une image  13">
            <a:extLst>
              <a:ext uri="{FF2B5EF4-FFF2-40B4-BE49-F238E27FC236}">
                <a16:creationId xmlns:a16="http://schemas.microsoft.com/office/drawing/2014/main" xmlns="" id="{382893CA-CF82-43AA-A5BF-6E4D4B0D66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53650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xmlns="" id="{A952395F-6661-453F-929E-174D6751537F}"/>
              </a:ext>
            </a:extLst>
          </p:cNvPr>
          <p:cNvGrpSpPr/>
          <p:nvPr userDrawn="1"/>
        </p:nvGrpSpPr>
        <p:grpSpPr>
          <a:xfrm>
            <a:off x="8451387" y="1653896"/>
            <a:ext cx="2771410" cy="4193144"/>
            <a:chOff x="4618653" y="2171908"/>
            <a:chExt cx="2938924" cy="4446592"/>
          </a:xfrm>
        </p:grpSpPr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xmlns="" id="{60884718-3B21-4C78-BE0E-749884421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xmlns="" id="{1464A2B0-EA8E-4A91-B711-95365C974A10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91440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Espace réservé pour une image  13">
            <a:extLst>
              <a:ext uri="{FF2B5EF4-FFF2-40B4-BE49-F238E27FC236}">
                <a16:creationId xmlns:a16="http://schemas.microsoft.com/office/drawing/2014/main" xmlns="" id="{93844F57-D704-4B20-902F-95C6CB2011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47542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E0AF8F31-74D8-47B0-9C69-E01A950D1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4" name="Espace réservé de la date 3">
            <a:extLst>
              <a:ext uri="{FF2B5EF4-FFF2-40B4-BE49-F238E27FC236}">
                <a16:creationId xmlns:a16="http://schemas.microsoft.com/office/drawing/2014/main" xmlns="" id="{E12E81F9-23C3-491A-9DED-3E33876A5CA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130CB43-AD05-4CF0-A3A3-8344683B9D9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1" name="Espace réservé du pied de page 4">
            <a:extLst>
              <a:ext uri="{FF2B5EF4-FFF2-40B4-BE49-F238E27FC236}">
                <a16:creationId xmlns:a16="http://schemas.microsoft.com/office/drawing/2014/main" xmlns="" id="{383F448C-30B7-4993-9FD7-B88FD1C1C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67053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4CD7BEF6-BE2A-473E-AD34-D67B3DD49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851F5E09-6B46-428A-A166-AD40B0455D7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E089F1B-3331-4262-926C-73936ED1B8FD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DEC718EC-4C3B-499E-94DB-2AD4DB80A5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08198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A699C0B1-4B67-446C-86D6-A334CC8E1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1B55442C-5E45-44D7-99AE-2C586736795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8C97648B-4180-4218-A255-8B77766A765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39D73DE9-D449-4D70-A8EE-1B7BC5E9C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56929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24BE967-7184-40D9-AB8B-2859B9EF7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0F6A860-FBAF-4703-BCC5-9A8FDBF506D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47A3633-A72A-4215-A1F3-94AE9F57796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69400311-FF09-4B92-BB88-4A3EBEE777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8039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94FEA76-69BB-4A89-932E-74D9EE41E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5A8F8A98-72A2-4D8B-A808-EFE5A2669C8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CBB0ED57-02A0-4E1B-BC69-5BA57749341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888AD6FB-6112-42A5-975D-6BE11DF82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967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617228" y="736909"/>
            <a:ext cx="2628693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8779576" y="1391490"/>
            <a:ext cx="231250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8786193" y="2001080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79" y="725557"/>
            <a:ext cx="7414592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15253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EA79DE3C-41A1-4554-BCAF-E9267D886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ABFC8D4-6CA7-49C7-9BCB-1B5A144C37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F550227-248A-460C-AC46-53CB9F58A3F7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F82DD4B-7F4F-43B7-81E9-90FF0A6249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61407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40DDB657-1B87-4D1F-8E3F-963706EC3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24809C26-123E-42EF-9F79-19CE2341BE2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D122CF7-DBB9-4B98-90BF-B7DDAB3C0C3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29C5580-BF69-4CAA-9D27-9D1381DAA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39574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5A307CB-BE33-45E6-85CF-317C6FB3A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640A224F-0E19-4286-BAF7-AFDC38ECCC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2B52603-56B8-4B90-A675-BE5FAB3DFAC0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70B47C3B-B28A-436B-9CA0-0D846F46E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2665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0" y="-36497"/>
            <a:ext cx="4000500" cy="5634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B78E957E-A8D4-4AD4-8218-CA20D9811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0131F4AA-9A37-4D2B-B8EC-2294F470352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994DA375-2F57-4AA2-935A-E6E9FE300A9B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4F16161-35CD-4D60-BEC5-683735BE09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8124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839DC47-7B58-4209-9CF2-E8BAA25B3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A5803B5A-F009-45F6-A2A9-4FFD9AEDE80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7AC6C153-51EB-4E36-846F-813413CB190D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A50E0C5F-CD22-463B-BCCF-C116AA23E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922DE014-48C6-4BD3-BA9D-44C4F168F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19204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11E211B-4164-4B86-8C4D-387492CBB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C31097D-3566-49AC-A04C-8968DEA3749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B709008-3D45-4FF6-9ADB-488543646A80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4252A59D-3BD1-4F65-BC36-2D515DA61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5CABD64-8FB7-4F47-AF89-E9983B7638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45747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250E82C4-1AC0-4559-A368-B396F25BE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24B2044-566B-4656-8CFC-BDC0AE86A9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80D56EC-7916-4003-99CE-478DFF2E36E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97E83193-303E-43A0-B6AA-BAD515CF33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F2FE5864-3720-4778-94BB-C1B5671BC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03707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BB141C0E-1A82-43A0-9E9B-D37BDFE7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890975AB-1C69-4A6E-B66F-B928B3F06DC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4844EFC-50FF-408C-90C5-134FD03B6E2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5E108138-D32B-42E4-B836-B9E573A87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8FDC78F-F498-4444-B2C4-40D59900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49175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9F8C425-BF28-4E9B-8F8C-27CDA4E7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0BC1AD1D-32F4-4B06-BA63-7D8417220F8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26EBCF7-753D-4DD1-86B9-9964ACA8376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F675A3C2-F9AB-427C-B36A-6CA47876C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A0BA483-8925-4A8E-8C79-653D3D5A1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53525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2CC4AC4-A788-41E6-B400-9FBCC1F84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96EDFA13-ADCB-486A-83E1-0524579E34D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EBC59D08-AB19-4EB2-9B8A-7321134A12E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CCD462F6-B11F-4ADA-BDCA-0B2313B70B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A01F6D-A186-4DD7-99B3-CD2F75D8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9802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8" y="1272222"/>
            <a:ext cx="4439479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16431"/>
            <a:ext cx="7802219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349082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5DF75C4-E2FA-414F-8F29-03A2A76D7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2A36F32-79DE-4FB9-B935-41DCF6621E7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40395BC3-2E2E-4DB9-9726-BA848A3EAEC7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37BF16-7CAC-4D4C-B700-14A7A6D6E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27529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0" y="-36497"/>
            <a:ext cx="8191500" cy="5634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2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4" y="1136717"/>
            <a:ext cx="4960986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5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136717"/>
            <a:ext cx="3673630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908C14AC-3CAC-4DDD-85D9-286C82FCD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2D22649-B211-44FB-BB22-36CF1EC37D5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1788994-E3B5-4080-9367-37A9B81F4F1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9D9A25-3E3C-4211-9D10-86256EA8F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145086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895DC9-688C-4424-9D96-AF0B3BDB52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3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4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6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3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4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6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77029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895DC9-688C-4424-9D96-AF0B3BDB52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3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8000" tIns="108000" rIns="108000" bIns="108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4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8000" tIns="108000" rIns="108000" bIns="108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8000" tIns="108000" rIns="108000" bIns="108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6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8000" tIns="108000" rIns="108000" bIns="108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3" y="1387298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4" y="1387298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387298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6" y="1387298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4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4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5" y="2032471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065375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895DC9-688C-4424-9D96-AF0B3BDB52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3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4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6" y="1668743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4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4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5" y="2365829"/>
            <a:ext cx="2434244" cy="3547291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102313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895DC9-688C-4424-9D96-AF0B3BDB52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3" y="4789315"/>
            <a:ext cx="2434244" cy="255126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4" y="4789315"/>
            <a:ext cx="2434244" cy="255126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4789315"/>
            <a:ext cx="2434244" cy="255126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6" y="4789315"/>
            <a:ext cx="2434244" cy="255126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4" y="1533979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4" y="1533979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1533979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5" y="1533979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9D1C24EF-D7D4-4DC2-BDB9-6CE2D4F8C6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44533" y="5044441"/>
            <a:ext cx="2434244" cy="365125"/>
          </a:xfrm>
          <a:ln w="12700">
            <a:noFill/>
          </a:ln>
        </p:spPr>
        <p:txBody>
          <a:bodyPr lIns="360000" tIns="360000" rIns="360000" bIns="360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2AEFB79C-6151-4544-93E3-18D075BE9B5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43284" y="5044441"/>
            <a:ext cx="2434244" cy="365125"/>
          </a:xfrm>
          <a:ln w="12700">
            <a:noFill/>
          </a:ln>
        </p:spPr>
        <p:txBody>
          <a:bodyPr lIns="360000" tIns="360000" rIns="360000" bIns="360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4A431409-AEDE-442A-8F97-6251763486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2035" y="5044441"/>
            <a:ext cx="2434244" cy="365125"/>
          </a:xfrm>
          <a:ln w="12700">
            <a:noFill/>
          </a:ln>
        </p:spPr>
        <p:txBody>
          <a:bodyPr lIns="360000" tIns="360000" rIns="360000" bIns="360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FD5046F-4298-494A-8B51-218080C09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40786" y="5044441"/>
            <a:ext cx="2434244" cy="365125"/>
          </a:xfrm>
          <a:ln w="12700">
            <a:noFill/>
          </a:ln>
        </p:spPr>
        <p:txBody>
          <a:bodyPr lIns="360000" tIns="360000" rIns="360000" bIns="360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31716561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15895DC9-688C-4424-9D96-AF0B3BDB52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6913" y="4220360"/>
            <a:ext cx="2434244" cy="15265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35664" y="4220360"/>
            <a:ext cx="2434244" cy="15265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4415" y="4220360"/>
            <a:ext cx="2434244" cy="15265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33166" y="4220360"/>
            <a:ext cx="2434244" cy="1526563"/>
          </a:xfrm>
          <a:ln w="12700">
            <a:solidFill>
              <a:schemeClr val="bg2"/>
            </a:solidFill>
          </a:ln>
        </p:spPr>
        <p:txBody>
          <a:bodyPr lIns="360000" tIns="360000" rIns="360000" bIns="36000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913" y="3575186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5664" y="3575186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4415" y="3575186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33166" y="3575186"/>
            <a:ext cx="2434244" cy="534707"/>
          </a:xfrm>
          <a:ln w="12700">
            <a:noFill/>
          </a:ln>
        </p:spPr>
        <p:txBody>
          <a:bodyPr lIns="360000" tIns="360000" rIns="360000" bIns="360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4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36914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35664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34415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37885" y="1595883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053368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9573" y="2179122"/>
            <a:ext cx="4102210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6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976968" y="1879600"/>
            <a:ext cx="4647420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0217" y="2179122"/>
            <a:ext cx="4102210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600"/>
            </a:lvl1pPr>
            <a:lvl2pPr>
              <a:spcBef>
                <a:spcPts val="0"/>
              </a:spcBef>
              <a:spcAft>
                <a:spcPts val="150"/>
              </a:spcAft>
              <a:defRPr sz="1200"/>
            </a:lvl2pPr>
            <a:lvl3pPr>
              <a:spcBef>
                <a:spcPts val="0"/>
              </a:spcBef>
              <a:spcAft>
                <a:spcPts val="150"/>
              </a:spcAft>
              <a:defRPr sz="1050"/>
            </a:lvl3pPr>
            <a:lvl4pPr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6567612" y="1879600"/>
            <a:ext cx="4647420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7302" y="1780972"/>
            <a:ext cx="1906752" cy="193899"/>
          </a:xfrm>
          <a:solidFill>
            <a:schemeClr val="bg1"/>
          </a:solidFill>
        </p:spPr>
        <p:txBody>
          <a:bodyPr vert="horz" wrap="square" lIns="144000" tIns="0" rIns="144000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4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37946" y="1782689"/>
            <a:ext cx="1906752" cy="193899"/>
          </a:xfrm>
          <a:solidFill>
            <a:schemeClr val="bg1"/>
          </a:solidFill>
        </p:spPr>
        <p:txBody>
          <a:bodyPr wrap="square" lIns="144000" rIns="14400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4CC8E2C-96DB-4951-854D-99AA08DC09D7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620D52A-0CDF-4DD5-99A8-8A00B2D9D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81444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9909" y="2179122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684883" y="1879600"/>
            <a:ext cx="332483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8608" y="2179122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/>
            </a:lvl1pPr>
            <a:lvl2pPr>
              <a:spcBef>
                <a:spcPts val="0"/>
              </a:spcBef>
              <a:spcAft>
                <a:spcPts val="150"/>
              </a:spcAft>
              <a:defRPr sz="1200"/>
            </a:lvl2pPr>
            <a:lvl3pPr>
              <a:spcBef>
                <a:spcPts val="0"/>
              </a:spcBef>
              <a:spcAft>
                <a:spcPts val="150"/>
              </a:spcAft>
              <a:defRPr sz="105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433582" y="1879600"/>
            <a:ext cx="332483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7307" y="2179122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/>
            </a:lvl1pPr>
            <a:lvl2pPr>
              <a:spcBef>
                <a:spcPts val="0"/>
              </a:spcBef>
              <a:spcAft>
                <a:spcPts val="150"/>
              </a:spcAft>
              <a:defRPr sz="1200"/>
            </a:lvl2pPr>
            <a:lvl3pPr>
              <a:spcBef>
                <a:spcPts val="0"/>
              </a:spcBef>
              <a:spcAft>
                <a:spcPts val="150"/>
              </a:spcAft>
              <a:defRPr sz="105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8182281" y="1879600"/>
            <a:ext cx="332483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65241" y="1780972"/>
            <a:ext cx="1364119" cy="193899"/>
          </a:xfrm>
          <a:solidFill>
            <a:schemeClr val="bg1"/>
          </a:solidFill>
        </p:spPr>
        <p:txBody>
          <a:bodyPr vert="horz" wrap="none" lIns="144000" tIns="0" rIns="144000" bIns="0" rtlCol="0">
            <a:spAutoFit/>
          </a:bodyPr>
          <a:lstStyle>
            <a:lvl1pPr algn="ctr">
              <a:buFont typeface="Arial" panose="020B0604020202020204" pitchFamily="34" charset="0"/>
              <a:buNone/>
              <a:defRPr lang="fr-FR" sz="14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13940" y="1782689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algn="ctr"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62639" y="1782689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algn="ctr"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1E48765A-689D-417A-B205-42E7565BA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36D33941-DC46-46CB-BDDE-A1B814B59AC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DF2BD4FF-5DBF-4802-9DF6-5140967B8EAA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xmlns="" id="{23C5D678-C990-44AE-9DFD-7A30E8BA9C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36078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0494" y="2179122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7" y="1879600"/>
            <a:ext cx="254044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6610" y="2179122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3167593" y="1879600"/>
            <a:ext cx="254044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12726" y="2179122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963709" y="1879600"/>
            <a:ext cx="254044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08841" y="2179122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8759824" y="1879600"/>
            <a:ext cx="2540446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9640" y="1780972"/>
            <a:ext cx="1364120" cy="193899"/>
          </a:xfrm>
          <a:solidFill>
            <a:schemeClr val="bg1"/>
          </a:solidFill>
        </p:spPr>
        <p:txBody>
          <a:bodyPr vert="horz" wrap="none" lIns="144000" tIns="0" rIns="144000" bIns="0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4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55756" y="1782689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51872" y="1782689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7987" y="1782689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18F260CF-BB61-46DE-A37E-2025C421D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53768FA1-ACA5-4750-928A-17060828453E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7653231-F0D3-4414-B1D2-F06FB1BE78F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xmlns="" id="{A1F73ADC-9A9C-419D-AB64-9F526682F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556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8" y="1272222"/>
            <a:ext cx="4439479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16431"/>
            <a:ext cx="7802219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3726954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5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865" y="2179122"/>
            <a:ext cx="1896662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504825" y="1879600"/>
            <a:ext cx="2148742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05648" y="2179122"/>
            <a:ext cx="1896662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2779607" y="1879600"/>
            <a:ext cx="2148742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726" y="2179122"/>
            <a:ext cx="1896662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022685" y="1879600"/>
            <a:ext cx="2148742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23509" y="2179122"/>
            <a:ext cx="1896662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7297468" y="1879600"/>
            <a:ext cx="2148742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03245" y="1780972"/>
            <a:ext cx="751901" cy="238902"/>
          </a:xfrm>
          <a:solidFill>
            <a:schemeClr val="bg1"/>
          </a:solidFill>
        </p:spPr>
        <p:txBody>
          <a:bodyPr vert="horz" wrap="none" lIns="144000" tIns="36000" rIns="144000" bIns="36000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2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1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5353" y="1782689"/>
            <a:ext cx="617249" cy="238902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8431" y="1782689"/>
            <a:ext cx="617249" cy="238902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3214" y="1782689"/>
            <a:ext cx="617249" cy="238902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321467ED-4221-4B7D-9F6F-F032B12914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97769" y="2179122"/>
            <a:ext cx="1896662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A233268-5577-464C-ADBD-669E59C91B8B}"/>
              </a:ext>
            </a:extLst>
          </p:cNvPr>
          <p:cNvSpPr/>
          <p:nvPr userDrawn="1"/>
        </p:nvSpPr>
        <p:spPr>
          <a:xfrm>
            <a:off x="9571728" y="1879600"/>
            <a:ext cx="2148742" cy="3854450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587FB0BE-1A02-4E5D-A3B2-37D4FC2394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37474" y="1782689"/>
            <a:ext cx="617249" cy="238902"/>
          </a:xfrm>
          <a:solidFill>
            <a:schemeClr val="bg1"/>
          </a:solidFill>
        </p:spPr>
        <p:txBody>
          <a:bodyPr wrap="none" lIns="144000" tIns="36000" rIns="144000" bIns="36000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4" name="Espace réservé du numéro de diapositive 5">
            <a:extLst>
              <a:ext uri="{FF2B5EF4-FFF2-40B4-BE49-F238E27FC236}">
                <a16:creationId xmlns:a16="http://schemas.microsoft.com/office/drawing/2014/main" xmlns="" id="{EA0FC403-A8DF-43F1-8C26-9DCA4FBCF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5" name="Espace réservé de la date 3">
            <a:extLst>
              <a:ext uri="{FF2B5EF4-FFF2-40B4-BE49-F238E27FC236}">
                <a16:creationId xmlns:a16="http://schemas.microsoft.com/office/drawing/2014/main" xmlns="" id="{553741E0-271C-436E-ABD6-FA321384D65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A5B584B-5584-4B72-A3D6-471BDD1A0255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pied de page 4">
            <a:extLst>
              <a:ext uri="{FF2B5EF4-FFF2-40B4-BE49-F238E27FC236}">
                <a16:creationId xmlns:a16="http://schemas.microsoft.com/office/drawing/2014/main" xmlns="" id="{D27EEDC4-D15C-4687-9736-24E43ECE9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7545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6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01" y="1883105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5" y="1583582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200" y="1883105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120174" y="1583582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3899" y="1883105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7868873" y="1583582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51833" y="1484954"/>
            <a:ext cx="1364119" cy="193899"/>
          </a:xfrm>
          <a:solidFill>
            <a:schemeClr val="bg1"/>
          </a:solidFill>
        </p:spPr>
        <p:txBody>
          <a:bodyPr vert="horz" wrap="none" lIns="144000" tIns="0" rIns="144000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4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00532" y="1486671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49231" y="1486671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D94E3463-9ACA-4049-939B-F27A7DE04C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6501" y="4096180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50377FF-25D5-4799-89B6-E6BCD8E32BE7}"/>
              </a:ext>
            </a:extLst>
          </p:cNvPr>
          <p:cNvSpPr/>
          <p:nvPr userDrawn="1"/>
        </p:nvSpPr>
        <p:spPr>
          <a:xfrm>
            <a:off x="371475" y="3796657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895C22A-334A-45F8-932B-AD212BA6AD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15200" y="4096180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A432CB35-F286-4D72-9CC6-361EC6A0BB5F}"/>
              </a:ext>
            </a:extLst>
          </p:cNvPr>
          <p:cNvSpPr/>
          <p:nvPr userDrawn="1"/>
        </p:nvSpPr>
        <p:spPr>
          <a:xfrm>
            <a:off x="4120174" y="3796657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FD034F29-877D-42C2-8352-1CB749A316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3899" y="4096180"/>
            <a:ext cx="2934784" cy="137370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05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E73DB45-2E9B-4665-B4E8-5639E5CE647F}"/>
              </a:ext>
            </a:extLst>
          </p:cNvPr>
          <p:cNvSpPr/>
          <p:nvPr userDrawn="1"/>
        </p:nvSpPr>
        <p:spPr>
          <a:xfrm>
            <a:off x="7868873" y="3796657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BD8D115A-981D-4FC4-8DCF-D948FCF20E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51833" y="3698029"/>
            <a:ext cx="1364119" cy="193899"/>
          </a:xfrm>
          <a:solidFill>
            <a:schemeClr val="bg1"/>
          </a:solidFill>
        </p:spPr>
        <p:txBody>
          <a:bodyPr vert="horz" wrap="none" lIns="144000" tIns="0" rIns="144000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400" b="1" dirty="0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3B60C83A-E06D-4227-835F-BC47A67D79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0532" y="3699746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1E36E258-E285-4328-8895-C4D31AA53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49231" y="3699746"/>
            <a:ext cx="1364120" cy="193899"/>
          </a:xfrm>
          <a:solidFill>
            <a:schemeClr val="bg1"/>
          </a:solidFill>
        </p:spPr>
        <p:txBody>
          <a:bodyPr wrap="none" lIns="144000" rIns="14400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1"/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2" name="Espace réservé du numéro de diapositive 5">
            <a:extLst>
              <a:ext uri="{FF2B5EF4-FFF2-40B4-BE49-F238E27FC236}">
                <a16:creationId xmlns:a16="http://schemas.microsoft.com/office/drawing/2014/main" xmlns="" id="{9A025995-109B-46D3-AC52-D7A1F6005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3" name="Espace réservé de la date 3">
            <a:extLst>
              <a:ext uri="{FF2B5EF4-FFF2-40B4-BE49-F238E27FC236}">
                <a16:creationId xmlns:a16="http://schemas.microsoft.com/office/drawing/2014/main" xmlns="" id="{19A1180D-1118-4BF7-A2E3-96C2E6301AB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B50E354F-B02A-4E1A-8CF2-47ED90556B4A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5C17D925-A7B1-458F-A1E9-A346AB688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0300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0"/>
            <a:ext cx="4820918" cy="34163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0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83062B0E-A600-4835-9DFC-73F1A1B8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B0ED8801-5D98-4A55-B77F-7A8F2011D57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BC8AED70-095C-4113-8976-F2A47106A5A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C2B70E01-CF54-44D4-BC26-1F3205B1B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60550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6" y="4216000"/>
            <a:ext cx="4817744" cy="1706750"/>
          </a:xfrm>
          <a:ln w="12700">
            <a:solidFill>
              <a:schemeClr val="bg2"/>
            </a:solidFill>
          </a:ln>
        </p:spPr>
        <p:txBody>
          <a:bodyPr lIns="324000" tIns="288000" bIns="180000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1"/>
            <a:ext cx="4820918" cy="1981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0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176" y="4119051"/>
            <a:ext cx="1162846" cy="193899"/>
          </a:xfrm>
          <a:solidFill>
            <a:schemeClr val="bg1"/>
          </a:solidFill>
        </p:spPr>
        <p:txBody>
          <a:bodyPr vert="horz" wrap="none" lIns="144000" tIns="0" rIns="144000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4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AC4C9D9-4D21-4A0C-B949-E1874B8F97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8806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522" y="4042476"/>
            <a:ext cx="5256000" cy="1560913"/>
          </a:xfrm>
          <a:ln w="12700">
            <a:solidFill>
              <a:schemeClr val="bg2"/>
            </a:solidFill>
          </a:ln>
        </p:spPr>
        <p:txBody>
          <a:bodyPr lIns="324000" tIns="288000" bIns="180000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0"/>
            <a:ext cx="4820918" cy="372378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30099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0222" y="3945527"/>
            <a:ext cx="1162846" cy="193899"/>
          </a:xfrm>
          <a:solidFill>
            <a:schemeClr val="bg1"/>
          </a:solidFill>
        </p:spPr>
        <p:txBody>
          <a:bodyPr vert="horz" wrap="none" lIns="144000" tIns="0" rIns="144000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4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05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AC4C9D9-4D21-4A0C-B949-E1874B8F975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04817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1" y="3429000"/>
            <a:ext cx="2493750" cy="2493750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xmlns="" id="{354CA686-853A-49BE-994E-C26C09AE0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421606"/>
            <a:ext cx="3673630" cy="585788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9B8B82FC-05E9-41E4-8F25-7FBD5D556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1280DC01-475F-4F13-865D-090CC898CED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336EBDC-CCE4-4FD0-8817-E5CE3C4C73D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BCC249D-9560-4008-B462-13DCED53E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156C9985-F2D1-4196-AA41-E499F41E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7829" y="3429000"/>
            <a:ext cx="4810942" cy="2493750"/>
          </a:xfrm>
          <a:ln w="12700">
            <a:solidFill>
              <a:schemeClr val="bg2"/>
            </a:solidFill>
          </a:ln>
        </p:spPr>
        <p:txBody>
          <a:bodyPr lIns="324000" tIns="288000" bIns="180000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0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04030897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6" y="1421606"/>
            <a:ext cx="3155034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0844" y="3736975"/>
            <a:ext cx="2631632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0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1" y="3429000"/>
            <a:ext cx="2493750" cy="249375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  11">
            <a:extLst>
              <a:ext uri="{FF2B5EF4-FFF2-40B4-BE49-F238E27FC236}">
                <a16:creationId xmlns:a16="http://schemas.microsoft.com/office/drawing/2014/main" xmlns="" id="{2C52405C-61DF-46D2-8B1C-E3716825133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429000"/>
            <a:ext cx="5398771" cy="249375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EF7C3C81-A9A3-4093-84AB-C2BD099668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96375" y="950119"/>
            <a:ext cx="2206096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7D6FF774-0512-467F-8CD1-D519C1B03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B0D311CF-ED68-4215-99C8-4828A86C904F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78EA4816-3C06-463E-B7DF-D5D744D2AF6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59DA522-7C45-43B1-9458-4DE640CD5E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35682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anchor="ctr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82335A1-7FE9-43F5-A487-E7D2E0B3B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5CF9ACA-831F-4CA4-AD72-7F19D5F1C507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2B807B6-3848-4C1F-9DDA-EA7488E23F9D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AA69D735-D3CD-46B2-B05D-86AB9508A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64675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216653B-2BDA-47D1-BC68-C19CC951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B415A82-8327-4329-A49E-8394818922B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97CE09F5-5A91-44DE-A76A-5F96E2D265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140D74F-7698-47CC-8A05-A0C839917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02355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3E8A052-A182-4F18-9BBC-2129CA378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3124805-097A-4ABA-B593-A1A123D835B6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341F6CD-8631-4353-98A1-75007779306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99A7F8D-8D88-4AA1-A0BE-DAFB6807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0210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4" y="388416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9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3118991" y="1174317"/>
            <a:ext cx="726511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1440502" y="3225260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9" y="388416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79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14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BLE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2B228D2A-2335-4643-90C9-DD6FF5055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ED1A571A-CBE8-4881-ABD1-4BCAC137469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2A230BA4-7D23-4726-9F9C-4DCC1F8D1E5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E29EE87-B116-41F4-A712-68A02D40D0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435867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116653B-55A6-4F5E-BF95-BBAF6C6D8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AA7FE348-38F0-4E6F-8889-A2AB77B70F54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998F179-3915-49B4-9388-82E90348A38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D7CB8AEF-F03E-47B2-85A7-9B80F0AAAA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46899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7E53C9A-5A7F-4312-8F2E-8CA52F57A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D2B20E5-A849-45CF-959C-F8EE48D94899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BD2C1D6B-6A86-47AA-96FD-4ABC06AF6C7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C20C4CBF-CA3E-4CA2-AC47-94B3C79F1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85924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DE6A90EF-E97F-4131-86C7-2F3F70B8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001C3067-BB73-4D16-B033-131E67A4725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F1584FE7-36C0-42FE-8255-2EA5495E62E4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451C0F61-606D-4320-B3DE-897A4AA7B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34228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0" y="285751"/>
            <a:ext cx="9548812" cy="56435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8" y="2671762"/>
            <a:ext cx="6979594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AA94C3E5-18EB-4A28-838F-3E3F96E4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AAA1E24-FAEF-45E8-B870-5F8B9A09136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273E50C2-5B10-4D59-AC77-57776FFA561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A9946FCE-F75B-4EE3-B80C-A58F852F7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5490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046" y="2543923"/>
            <a:ext cx="3631828" cy="585788"/>
          </a:xfrm>
        </p:spPr>
        <p:txBody>
          <a:bodyPr anchor="ctr">
            <a:noAutofit/>
          </a:bodyPr>
          <a:lstStyle>
            <a:lvl1pPr>
              <a:defRPr sz="36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321" y="1720849"/>
            <a:ext cx="4526634" cy="3550557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Font typeface="Segoe UI" panose="020B0502040204020203" pitchFamily="34" charset="0"/>
              <a:buChar char="&gt;"/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84EB6C3-5F57-47CF-8AA0-FE63A043391E}"/>
              </a:ext>
            </a:extLst>
          </p:cNvPr>
          <p:cNvSpPr/>
          <p:nvPr userDrawn="1"/>
        </p:nvSpPr>
        <p:spPr>
          <a:xfrm>
            <a:off x="200511" y="210312"/>
            <a:ext cx="5471109" cy="506109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60417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bg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bg2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7120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bg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bg1">
              <a:lumMod val="95000"/>
            </a:schemeClr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88172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tx2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4748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2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562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4" y="388416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9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8150279" y="388416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8150279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1101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10" y="390921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11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4355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1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92360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3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14400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4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70833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5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35386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tx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3" y="1151068"/>
            <a:ext cx="5507061" cy="4658061"/>
          </a:xfrm>
          <a:solidFill>
            <a:schemeClr val="accent6"/>
          </a:solidFill>
        </p:spPr>
        <p:txBody>
          <a:bodyPr lIns="720000" tIns="720000" rIns="720000" bIns="720000" anchor="t">
            <a:noAutofit/>
          </a:bodyPr>
          <a:lstStyle>
            <a:lvl1pPr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50" indent="-285750"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1200150" indent="-285750"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6AC4771C-84FB-463D-AA45-43B9BFF879C1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09917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+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6812" y="666750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6BCB9C2E-4BB8-4A2C-8E57-3CCAD3E19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060FBA99-70DE-44BB-8D8B-C84D4AE0CFD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AB4C765-7AE4-4059-A2A1-C1D177D5663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94474D95-19F6-4BAE-9650-659E53303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A460B440-F609-4C24-9142-05BF8B9C8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5"/>
            <a:ext cx="4770368" cy="3682461"/>
          </a:xfrm>
          <a:ln w="19050">
            <a:solidFill>
              <a:schemeClr val="bg2"/>
            </a:solidFill>
          </a:ln>
        </p:spPr>
        <p:txBody>
          <a:bodyPr lIns="720000" tIns="720000" rIns="720000" bIns="720000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</p:spTree>
    <p:extLst>
      <p:ext uri="{BB962C8B-B14F-4D97-AF65-F5344CB8AC3E}">
        <p14:creationId xmlns:p14="http://schemas.microsoft.com/office/powerpoint/2010/main" val="180818649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ION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llipse 28">
            <a:extLst>
              <a:ext uri="{FF2B5EF4-FFF2-40B4-BE49-F238E27FC236}">
                <a16:creationId xmlns:a16="http://schemas.microsoft.com/office/drawing/2014/main" xmlns="" id="{90FB0429-B5AE-4824-90BB-D99D7B0C0392}"/>
              </a:ext>
            </a:extLst>
          </p:cNvPr>
          <p:cNvSpPr/>
          <p:nvPr userDrawn="1"/>
        </p:nvSpPr>
        <p:spPr>
          <a:xfrm>
            <a:off x="5467351" y="1841255"/>
            <a:ext cx="1257298" cy="125729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xmlns="" id="{C0089071-BA67-4A39-9621-92CD520E46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1" y="2688978"/>
            <a:ext cx="4166185" cy="2951256"/>
          </a:xfrm>
          <a:custGeom>
            <a:avLst/>
            <a:gdLst>
              <a:gd name="connsiteX0" fmla="*/ 587200 w 4166185"/>
              <a:gd name="connsiteY0" fmla="*/ 0 h 2951256"/>
              <a:gd name="connsiteX1" fmla="*/ 4166185 w 4166185"/>
              <a:gd name="connsiteY1" fmla="*/ 0 h 2951256"/>
              <a:gd name="connsiteX2" fmla="*/ 4166185 w 4166185"/>
              <a:gd name="connsiteY2" fmla="*/ 2951256 h 2951256"/>
              <a:gd name="connsiteX3" fmla="*/ 0 w 4166185"/>
              <a:gd name="connsiteY3" fmla="*/ 2951256 h 2951256"/>
              <a:gd name="connsiteX4" fmla="*/ 0 w 4166185"/>
              <a:gd name="connsiteY4" fmla="*/ 409575 h 2951256"/>
              <a:gd name="connsiteX5" fmla="*/ 126694 w 4166185"/>
              <a:gd name="connsiteY5" fmla="*/ 396803 h 2951256"/>
              <a:gd name="connsiteX6" fmla="*/ 579246 w 4166185"/>
              <a:gd name="connsiteY6" fmla="*/ 25625 h 295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6185" h="2951256">
                <a:moveTo>
                  <a:pt x="587200" y="0"/>
                </a:moveTo>
                <a:lnTo>
                  <a:pt x="4166185" y="0"/>
                </a:lnTo>
                <a:lnTo>
                  <a:pt x="4166185" y="2951256"/>
                </a:lnTo>
                <a:lnTo>
                  <a:pt x="0" y="2951256"/>
                </a:lnTo>
                <a:lnTo>
                  <a:pt x="0" y="409575"/>
                </a:lnTo>
                <a:lnTo>
                  <a:pt x="126694" y="396803"/>
                </a:lnTo>
                <a:cubicBezTo>
                  <a:pt x="331312" y="354932"/>
                  <a:pt x="499717" y="213651"/>
                  <a:pt x="579246" y="256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r">
              <a:buNone/>
              <a:defRPr sz="18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xmlns="" id="{2909E62E-9425-481C-9AD1-B5F130F0EB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01166" y="0"/>
            <a:ext cx="4794834" cy="4448174"/>
          </a:xfrm>
          <a:custGeom>
            <a:avLst/>
            <a:gdLst>
              <a:gd name="connsiteX0" fmla="*/ 0 w 4794834"/>
              <a:gd name="connsiteY0" fmla="*/ 0 h 4448174"/>
              <a:gd name="connsiteX1" fmla="*/ 4794834 w 4794834"/>
              <a:gd name="connsiteY1" fmla="*/ 0 h 4448174"/>
              <a:gd name="connsiteX2" fmla="*/ 4794834 w 4794834"/>
              <a:gd name="connsiteY2" fmla="*/ 1841255 h 4448174"/>
              <a:gd name="connsiteX3" fmla="*/ 4166185 w 4794834"/>
              <a:gd name="connsiteY3" fmla="*/ 2469904 h 4448174"/>
              <a:gd name="connsiteX4" fmla="*/ 4794834 w 4794834"/>
              <a:gd name="connsiteY4" fmla="*/ 3098553 h 4448174"/>
              <a:gd name="connsiteX5" fmla="*/ 4794834 w 4794834"/>
              <a:gd name="connsiteY5" fmla="*/ 4448174 h 4448174"/>
              <a:gd name="connsiteX6" fmla="*/ 0 w 4794834"/>
              <a:gd name="connsiteY6" fmla="*/ 4448174 h 444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94834" h="4448174">
                <a:moveTo>
                  <a:pt x="0" y="0"/>
                </a:moveTo>
                <a:lnTo>
                  <a:pt x="4794834" y="0"/>
                </a:lnTo>
                <a:lnTo>
                  <a:pt x="4794834" y="1841255"/>
                </a:lnTo>
                <a:cubicBezTo>
                  <a:pt x="4447641" y="1841255"/>
                  <a:pt x="4166185" y="2122711"/>
                  <a:pt x="4166185" y="2469904"/>
                </a:cubicBezTo>
                <a:cubicBezTo>
                  <a:pt x="4166185" y="2817097"/>
                  <a:pt x="4447641" y="3098553"/>
                  <a:pt x="4794834" y="3098553"/>
                </a:cubicBezTo>
                <a:lnTo>
                  <a:pt x="4794834" y="4448174"/>
                </a:lnTo>
                <a:lnTo>
                  <a:pt x="0" y="44481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 dirty="0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xmlns="" id="{53533EA2-052E-41F1-A761-FBB9456812F8}"/>
              </a:ext>
            </a:extLst>
          </p:cNvPr>
          <p:cNvSpPr/>
          <p:nvPr/>
        </p:nvSpPr>
        <p:spPr>
          <a:xfrm>
            <a:off x="5817883" y="2250830"/>
            <a:ext cx="556234" cy="438148"/>
          </a:xfrm>
          <a:custGeom>
            <a:avLst/>
            <a:gdLst>
              <a:gd name="connsiteX0" fmla="*/ 8961 w 571500"/>
              <a:gd name="connsiteY0" fmla="*/ 247462 h 419100"/>
              <a:gd name="connsiteX1" fmla="*/ -540 w 571500"/>
              <a:gd name="connsiteY1" fmla="*/ 237906 h 419100"/>
              <a:gd name="connsiteX2" fmla="*/ -540 w 571500"/>
              <a:gd name="connsiteY2" fmla="*/ 9368 h 419100"/>
              <a:gd name="connsiteX3" fmla="*/ 9007 w 571500"/>
              <a:gd name="connsiteY3" fmla="*/ -188 h 419100"/>
              <a:gd name="connsiteX4" fmla="*/ 237317 w 571500"/>
              <a:gd name="connsiteY4" fmla="*/ -188 h 419100"/>
              <a:gd name="connsiteX5" fmla="*/ 246873 w 571500"/>
              <a:gd name="connsiteY5" fmla="*/ 9368 h 419100"/>
              <a:gd name="connsiteX6" fmla="*/ 247110 w 571500"/>
              <a:gd name="connsiteY6" fmla="*/ 247462 h 419100"/>
              <a:gd name="connsiteX7" fmla="*/ 66135 w 571500"/>
              <a:gd name="connsiteY7" fmla="*/ 418912 h 419100"/>
              <a:gd name="connsiteX8" fmla="*/ 66108 w 571500"/>
              <a:gd name="connsiteY8" fmla="*/ 418912 h 419100"/>
              <a:gd name="connsiteX9" fmla="*/ 56610 w 571500"/>
              <a:gd name="connsiteY9" fmla="*/ 409431 h 419100"/>
              <a:gd name="connsiteX10" fmla="*/ 56610 w 571500"/>
              <a:gd name="connsiteY10" fmla="*/ 333143 h 419100"/>
              <a:gd name="connsiteX11" fmla="*/ 66108 w 571500"/>
              <a:gd name="connsiteY11" fmla="*/ 323662 h 419100"/>
              <a:gd name="connsiteX12" fmla="*/ 66135 w 571500"/>
              <a:gd name="connsiteY12" fmla="*/ 323662 h 419100"/>
              <a:gd name="connsiteX13" fmla="*/ 151337 w 571500"/>
              <a:gd name="connsiteY13" fmla="*/ 247462 h 419100"/>
              <a:gd name="connsiteX14" fmla="*/ 8961 w 571500"/>
              <a:gd name="connsiteY14" fmla="*/ 247462 h 419100"/>
              <a:gd name="connsiteX15" fmla="*/ 332811 w 571500"/>
              <a:gd name="connsiteY15" fmla="*/ 247462 h 419100"/>
              <a:gd name="connsiteX16" fmla="*/ 323310 w 571500"/>
              <a:gd name="connsiteY16" fmla="*/ 237906 h 419100"/>
              <a:gd name="connsiteX17" fmla="*/ 323310 w 571500"/>
              <a:gd name="connsiteY17" fmla="*/ 9368 h 419100"/>
              <a:gd name="connsiteX18" fmla="*/ 332857 w 571500"/>
              <a:gd name="connsiteY18" fmla="*/ -188 h 419100"/>
              <a:gd name="connsiteX19" fmla="*/ 561167 w 571500"/>
              <a:gd name="connsiteY19" fmla="*/ -188 h 419100"/>
              <a:gd name="connsiteX20" fmla="*/ 570723 w 571500"/>
              <a:gd name="connsiteY20" fmla="*/ 9368 h 419100"/>
              <a:gd name="connsiteX21" fmla="*/ 570960 w 571500"/>
              <a:gd name="connsiteY21" fmla="*/ 247462 h 419100"/>
              <a:gd name="connsiteX22" fmla="*/ 389985 w 571500"/>
              <a:gd name="connsiteY22" fmla="*/ 418912 h 419100"/>
              <a:gd name="connsiteX23" fmla="*/ 389958 w 571500"/>
              <a:gd name="connsiteY23" fmla="*/ 418912 h 419100"/>
              <a:gd name="connsiteX24" fmla="*/ 380460 w 571500"/>
              <a:gd name="connsiteY24" fmla="*/ 409431 h 419100"/>
              <a:gd name="connsiteX25" fmla="*/ 380460 w 571500"/>
              <a:gd name="connsiteY25" fmla="*/ 333143 h 419100"/>
              <a:gd name="connsiteX26" fmla="*/ 389958 w 571500"/>
              <a:gd name="connsiteY26" fmla="*/ 323662 h 419100"/>
              <a:gd name="connsiteX27" fmla="*/ 389985 w 571500"/>
              <a:gd name="connsiteY27" fmla="*/ 323662 h 419100"/>
              <a:gd name="connsiteX28" fmla="*/ 475187 w 571500"/>
              <a:gd name="connsiteY28" fmla="*/ 247462 h 419100"/>
              <a:gd name="connsiteX29" fmla="*/ 332811 w 571500"/>
              <a:gd name="connsiteY29" fmla="*/ 247462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71500" h="419100">
                <a:moveTo>
                  <a:pt x="8961" y="247462"/>
                </a:moveTo>
                <a:cubicBezTo>
                  <a:pt x="3714" y="247462"/>
                  <a:pt x="-540" y="243164"/>
                  <a:pt x="-540" y="237906"/>
                </a:cubicBezTo>
                <a:lnTo>
                  <a:pt x="-540" y="9368"/>
                </a:lnTo>
                <a:cubicBezTo>
                  <a:pt x="-540" y="4091"/>
                  <a:pt x="3754" y="-188"/>
                  <a:pt x="9007" y="-188"/>
                </a:cubicBezTo>
                <a:lnTo>
                  <a:pt x="237317" y="-188"/>
                </a:lnTo>
                <a:cubicBezTo>
                  <a:pt x="242589" y="-188"/>
                  <a:pt x="246868" y="4110"/>
                  <a:pt x="246873" y="9368"/>
                </a:cubicBezTo>
                <a:lnTo>
                  <a:pt x="247110" y="247462"/>
                </a:lnTo>
                <a:cubicBezTo>
                  <a:pt x="241910" y="342984"/>
                  <a:pt x="162890" y="418912"/>
                  <a:pt x="66135" y="418912"/>
                </a:cubicBezTo>
                <a:lnTo>
                  <a:pt x="66108" y="418912"/>
                </a:lnTo>
                <a:cubicBezTo>
                  <a:pt x="60862" y="418912"/>
                  <a:pt x="56610" y="414572"/>
                  <a:pt x="56610" y="409431"/>
                </a:cubicBezTo>
                <a:lnTo>
                  <a:pt x="56610" y="333143"/>
                </a:lnTo>
                <a:cubicBezTo>
                  <a:pt x="56610" y="327907"/>
                  <a:pt x="60927" y="323662"/>
                  <a:pt x="66108" y="323662"/>
                </a:cubicBezTo>
                <a:lnTo>
                  <a:pt x="66135" y="323662"/>
                </a:lnTo>
                <a:cubicBezTo>
                  <a:pt x="110260" y="323662"/>
                  <a:pt x="146599" y="290324"/>
                  <a:pt x="151337" y="247462"/>
                </a:cubicBezTo>
                <a:lnTo>
                  <a:pt x="8961" y="247462"/>
                </a:lnTo>
                <a:close/>
                <a:moveTo>
                  <a:pt x="332811" y="247462"/>
                </a:moveTo>
                <a:cubicBezTo>
                  <a:pt x="327564" y="247462"/>
                  <a:pt x="323310" y="243164"/>
                  <a:pt x="323310" y="237906"/>
                </a:cubicBezTo>
                <a:lnTo>
                  <a:pt x="323310" y="9368"/>
                </a:lnTo>
                <a:cubicBezTo>
                  <a:pt x="323310" y="4091"/>
                  <a:pt x="327604" y="-188"/>
                  <a:pt x="332857" y="-188"/>
                </a:cubicBezTo>
                <a:lnTo>
                  <a:pt x="561167" y="-188"/>
                </a:lnTo>
                <a:cubicBezTo>
                  <a:pt x="566439" y="-188"/>
                  <a:pt x="570718" y="4110"/>
                  <a:pt x="570723" y="9368"/>
                </a:cubicBezTo>
                <a:lnTo>
                  <a:pt x="570960" y="247462"/>
                </a:lnTo>
                <a:cubicBezTo>
                  <a:pt x="565760" y="342984"/>
                  <a:pt x="486740" y="418912"/>
                  <a:pt x="389985" y="418912"/>
                </a:cubicBezTo>
                <a:lnTo>
                  <a:pt x="389958" y="418912"/>
                </a:lnTo>
                <a:cubicBezTo>
                  <a:pt x="384712" y="418912"/>
                  <a:pt x="380460" y="414572"/>
                  <a:pt x="380460" y="409431"/>
                </a:cubicBezTo>
                <a:lnTo>
                  <a:pt x="380460" y="333143"/>
                </a:lnTo>
                <a:cubicBezTo>
                  <a:pt x="380460" y="327907"/>
                  <a:pt x="384777" y="323662"/>
                  <a:pt x="389958" y="323662"/>
                </a:cubicBezTo>
                <a:lnTo>
                  <a:pt x="389985" y="323662"/>
                </a:lnTo>
                <a:cubicBezTo>
                  <a:pt x="434110" y="323662"/>
                  <a:pt x="470449" y="290324"/>
                  <a:pt x="475187" y="247462"/>
                </a:cubicBezTo>
                <a:lnTo>
                  <a:pt x="332811" y="24746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914400"/>
            <a:endParaRPr lang="fr-FR" sz="1800">
              <a:solidFill>
                <a:prstClr val="black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0552" y="4739259"/>
            <a:ext cx="3336799" cy="280797"/>
          </a:xfrm>
        </p:spPr>
        <p:txBody>
          <a:bodyPr anchor="b">
            <a:noAutofit/>
          </a:bodyPr>
          <a:lstStyle>
            <a:lvl1pPr algn="r">
              <a:buNone/>
              <a:defRPr sz="2000"/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Citant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441760C7-EC53-4050-B375-4295D3FDF8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5536" y="5046851"/>
            <a:ext cx="2321815" cy="280797"/>
          </a:xfrm>
        </p:spPr>
        <p:txBody>
          <a:bodyPr>
            <a:noAutofit/>
          </a:bodyPr>
          <a:lstStyle>
            <a:lvl1pPr algn="r">
              <a:buNone/>
              <a:defRPr sz="18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A94132BA-B2D0-4D4C-B887-32857E9CF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2436" y="3871712"/>
            <a:ext cx="3053312" cy="585788"/>
          </a:xfrm>
        </p:spPr>
        <p:txBody>
          <a:bodyPr anchor="ctr">
            <a:noAutofit/>
          </a:bodyPr>
          <a:lstStyle>
            <a:lvl1pPr>
              <a:defRPr sz="2000"/>
            </a:lvl1pPr>
          </a:lstStyle>
          <a:p>
            <a:r>
              <a:rPr lang="fr-FR" dirty="0"/>
              <a:t>Citation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6E9568A0-91A6-42AC-9EA5-493A1D1A4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344CD52A-E82B-4857-BD43-D0B26BBD2D9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5FFA331-D48C-4AAF-80A4-97D21209D529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08921B6F-80BE-4085-9859-40CA1324E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7069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0" y="666750"/>
            <a:ext cx="2762250" cy="2762250"/>
          </a:xfrm>
        </p:spPr>
        <p:txBody>
          <a:bodyPr/>
          <a:lstStyle/>
          <a:p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77A60DA-8122-4AC0-A87B-08B3BC8F9BF9}"/>
              </a:ext>
            </a:extLst>
          </p:cNvPr>
          <p:cNvSpPr/>
          <p:nvPr userDrawn="1"/>
        </p:nvSpPr>
        <p:spPr>
          <a:xfrm>
            <a:off x="1228033" y="3428999"/>
            <a:ext cx="2513543" cy="21046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3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6DA83DA6-E40E-43B0-9E29-D24089E0B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3" y="4242677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C5930C0-F4E7-4120-B24C-18F053399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3" y="479916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6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1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7" y="3821715"/>
            <a:ext cx="169076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7" y="4154042"/>
            <a:ext cx="1690763" cy="1661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0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915706E2-0161-432A-88DF-844474267205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8887161C-9859-40FF-B4B7-FA957F90D213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C68A1FAB-0F2E-4190-8527-AE61C36CC5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38421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0" y="666750"/>
            <a:ext cx="2762250" cy="2762250"/>
          </a:xfrm>
        </p:spPr>
        <p:txBody>
          <a:bodyPr/>
          <a:lstStyle/>
          <a:p>
            <a:endParaRPr lang="fr-FR"/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6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1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7" y="3821715"/>
            <a:ext cx="169076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7" y="4154042"/>
            <a:ext cx="1690763" cy="166199"/>
          </a:xfrm>
        </p:spPr>
        <p:txBody>
          <a:bodyPr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5BAE411-0A22-410B-83F2-CBC4CBA0839A}"/>
              </a:ext>
            </a:extLst>
          </p:cNvPr>
          <p:cNvSpPr/>
          <p:nvPr userDrawn="1"/>
        </p:nvSpPr>
        <p:spPr>
          <a:xfrm>
            <a:off x="1228033" y="3428999"/>
            <a:ext cx="2513543" cy="21046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30" name="Espace réservé du numéro de diapositive 5">
            <a:extLst>
              <a:ext uri="{FF2B5EF4-FFF2-40B4-BE49-F238E27FC236}">
                <a16:creationId xmlns:a16="http://schemas.microsoft.com/office/drawing/2014/main" xmlns="" id="{7E03E7B4-CA50-4BBD-8DBE-9F8757DDF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1" name="Espace réservé de la date 3">
            <a:extLst>
              <a:ext uri="{FF2B5EF4-FFF2-40B4-BE49-F238E27FC236}">
                <a16:creationId xmlns:a16="http://schemas.microsoft.com/office/drawing/2014/main" xmlns="" id="{1BF382F1-AA1E-4CA8-8831-C5105D98934B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E6FBD5F4-525D-4371-9D2E-97D865AFD81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texte 6">
            <a:extLst>
              <a:ext uri="{FF2B5EF4-FFF2-40B4-BE49-F238E27FC236}">
                <a16:creationId xmlns:a16="http://schemas.microsoft.com/office/drawing/2014/main" xmlns="" id="{3930505F-D975-4EC4-B884-45C0A5F8EE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3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33" name="Espace réservé du texte 6">
            <a:extLst>
              <a:ext uri="{FF2B5EF4-FFF2-40B4-BE49-F238E27FC236}">
                <a16:creationId xmlns:a16="http://schemas.microsoft.com/office/drawing/2014/main" xmlns="" id="{629FC540-4EAE-44D8-BB0C-B875E2519B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3" y="4242677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xmlns="" id="{7BF238C7-E89A-47FB-BE3D-3F2634220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3" y="479916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FFB42B9F-E49F-47E7-8B64-6B337AB41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62759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3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8585" y="1966915"/>
            <a:ext cx="2160580" cy="2385102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17693" y="1966915"/>
            <a:ext cx="2160580" cy="2385102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6800" y="1966915"/>
            <a:ext cx="2160580" cy="2385102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24000" y="4503013"/>
            <a:ext cx="1809750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107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1125" y="4503013"/>
            <a:ext cx="1809750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8200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xmlns="" id="{386229FD-55A1-4852-8D4B-A8779FC41F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58250" y="4503013"/>
            <a:ext cx="1809750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A9DA7FBC-EF80-4A56-8B24-84E51590A56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1532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A879008A-4DDA-44C1-8ADD-D65E690F09B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24000" y="4763202"/>
            <a:ext cx="1809750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9AA9228C-2F11-49A2-BB2D-2C8DF12743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91125" y="4763202"/>
            <a:ext cx="1809750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  <a:p>
            <a:pPr lvl="0"/>
            <a:endParaRPr lang="fr-FR" dirty="0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94ABAE55-63BF-4CB7-8DC4-4623FC8C6D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8250" y="4763202"/>
            <a:ext cx="1809750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1458C19E-454D-4AF8-9E89-589D46CA0A3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00DA8B7E-5744-440E-95A0-ACC043770DB2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xmlns="" id="{3AB36181-7622-4D92-8C7B-65AFAC213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3849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816264" y="388416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816269" y="4393553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3" name="Connecteur droit 2"/>
          <p:cNvCxnSpPr/>
          <p:nvPr userDrawn="1"/>
        </p:nvCxnSpPr>
        <p:spPr>
          <a:xfrm>
            <a:off x="0" y="3429000"/>
            <a:ext cx="6096000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59770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8697241" y="0"/>
            <a:ext cx="3494763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Rectangle 14"/>
          <p:cNvSpPr/>
          <p:nvPr userDrawn="1"/>
        </p:nvSpPr>
        <p:spPr>
          <a:xfrm>
            <a:off x="8204558" y="1174317"/>
            <a:ext cx="726511" cy="45093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 rot="16200000">
            <a:off x="6526069" y="3225260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3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1524010" y="3909219"/>
            <a:ext cx="2559487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1524011" y="4418605"/>
            <a:ext cx="2555383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84749" y="33350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5318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8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0130" y="1417976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9423" y="1417976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0130" y="2986703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2282" y="3324667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67440" y="2986703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59592" y="3324667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06778E9D-D17D-4914-97DE-49D51276BB3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44750" y="1417976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DDF2DEFF-A2F6-4073-AA97-B29CCE54C52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024043" y="1417976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0F8D44D4-8A30-4501-82B4-A82AFEC009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44750" y="2986703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C1AC91ED-5609-476D-BE41-07D177E4AE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6902" y="3324667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1" name="Espace réservé du texte 16">
            <a:extLst>
              <a:ext uri="{FF2B5EF4-FFF2-40B4-BE49-F238E27FC236}">
                <a16:creationId xmlns:a16="http://schemas.microsoft.com/office/drawing/2014/main" xmlns="" id="{8CE24202-2845-42A3-AF70-82BD181CAA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22060" y="2986703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2" name="Espace réservé du texte 16">
            <a:extLst>
              <a:ext uri="{FF2B5EF4-FFF2-40B4-BE49-F238E27FC236}">
                <a16:creationId xmlns:a16="http://schemas.microsoft.com/office/drawing/2014/main" xmlns="" id="{F8006483-7AFB-40C8-9986-0DCDA47C3D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14212" y="3324667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34B8B323-EF93-4A7F-9969-D840B1D854A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0130" y="3790038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5E31982C-9272-47FD-8C42-DB559094A8D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869423" y="3790038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8E579A1C-ABA0-4F1E-8C9A-1A8D2F921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90130" y="5358765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9A267BD1-56D4-4DBC-9432-C43F2AC601A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82282" y="5696729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7" name="Espace réservé du texte 16">
            <a:extLst>
              <a:ext uri="{FF2B5EF4-FFF2-40B4-BE49-F238E27FC236}">
                <a16:creationId xmlns:a16="http://schemas.microsoft.com/office/drawing/2014/main" xmlns="" id="{1A80F3BF-A4D5-4322-A983-38D92755CA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67440" y="5358765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597A55D3-92CD-4D3B-B89C-8AC7A72A6C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59592" y="5696729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9" name="Espace réservé pour une image  6">
            <a:extLst>
              <a:ext uri="{FF2B5EF4-FFF2-40B4-BE49-F238E27FC236}">
                <a16:creationId xmlns:a16="http://schemas.microsoft.com/office/drawing/2014/main" xmlns="" id="{F353E210-BB2D-4C39-9DE4-FF0DB2EC1D1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444750" y="3790038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0" name="Espace réservé pour une image  6">
            <a:extLst>
              <a:ext uri="{FF2B5EF4-FFF2-40B4-BE49-F238E27FC236}">
                <a16:creationId xmlns:a16="http://schemas.microsoft.com/office/drawing/2014/main" xmlns="" id="{C35BB586-9C07-43BF-9FD1-0B351B05137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24043" y="3790038"/>
            <a:ext cx="1809750" cy="1516618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C35D6923-DA89-4012-B41C-7D352DC51EB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44750" y="5358765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D37E676C-7672-4907-A33C-8A7B639D54D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36902" y="5696729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055B5EAC-D3AB-416D-B253-98FB6AFECEB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22060" y="5358765"/>
            <a:ext cx="1809750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B30609C5-E3FB-4BA4-82BC-01C90C359CC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14212" y="5696729"/>
            <a:ext cx="2425446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6" name="Espace réservé de la date 3">
            <a:extLst>
              <a:ext uri="{FF2B5EF4-FFF2-40B4-BE49-F238E27FC236}">
                <a16:creationId xmlns:a16="http://schemas.microsoft.com/office/drawing/2014/main" xmlns="" id="{EEB79370-0C2F-4683-946F-991D2506A00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1A2C58E-8A20-4A43-8E5C-9047A2FDFE76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5" name="Espace réservé du pied de page 4">
            <a:extLst>
              <a:ext uri="{FF2B5EF4-FFF2-40B4-BE49-F238E27FC236}">
                <a16:creationId xmlns:a16="http://schemas.microsoft.com/office/drawing/2014/main" xmlns="" id="{D8140669-2368-4FC8-94A0-9063141276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26366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4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xmlns="" id="{8BF75F91-9399-4B96-A46F-567BF14ED8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21481" y="3372402"/>
            <a:ext cx="7730730" cy="132156"/>
          </a:xfrm>
          <a:custGeom>
            <a:avLst/>
            <a:gdLst>
              <a:gd name="connsiteX0" fmla="*/ 7629385 w 7730730"/>
              <a:gd name="connsiteY0" fmla="*/ 0 h 132156"/>
              <a:gd name="connsiteX1" fmla="*/ 7730730 w 7730730"/>
              <a:gd name="connsiteY1" fmla="*/ 66078 h 132156"/>
              <a:gd name="connsiteX2" fmla="*/ 7629385 w 7730730"/>
              <a:gd name="connsiteY2" fmla="*/ 132156 h 132156"/>
              <a:gd name="connsiteX3" fmla="*/ 7629385 w 7730730"/>
              <a:gd name="connsiteY3" fmla="*/ 99117 h 132156"/>
              <a:gd name="connsiteX4" fmla="*/ 3815639 w 7730730"/>
              <a:gd name="connsiteY4" fmla="*/ 99117 h 132156"/>
              <a:gd name="connsiteX5" fmla="*/ 161374 w 7730730"/>
              <a:gd name="connsiteY5" fmla="*/ 99117 h 132156"/>
              <a:gd name="connsiteX6" fmla="*/ 0 w 7730730"/>
              <a:gd name="connsiteY6" fmla="*/ 99117 h 132156"/>
              <a:gd name="connsiteX7" fmla="*/ 0 w 7730730"/>
              <a:gd name="connsiteY7" fmla="*/ 33039 h 132156"/>
              <a:gd name="connsiteX8" fmla="*/ 161374 w 7730730"/>
              <a:gd name="connsiteY8" fmla="*/ 33039 h 132156"/>
              <a:gd name="connsiteX9" fmla="*/ 3815639 w 7730730"/>
              <a:gd name="connsiteY9" fmla="*/ 33039 h 132156"/>
              <a:gd name="connsiteX10" fmla="*/ 7629385 w 7730730"/>
              <a:gd name="connsiteY10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30730" h="132156">
                <a:moveTo>
                  <a:pt x="7629385" y="0"/>
                </a:moveTo>
                <a:lnTo>
                  <a:pt x="7730730" y="66078"/>
                </a:lnTo>
                <a:lnTo>
                  <a:pt x="7629385" y="132156"/>
                </a:lnTo>
                <a:lnTo>
                  <a:pt x="7629385" y="99117"/>
                </a:lnTo>
                <a:lnTo>
                  <a:pt x="3815639" y="99117"/>
                </a:lnTo>
                <a:lnTo>
                  <a:pt x="161374" y="99117"/>
                </a:lnTo>
                <a:lnTo>
                  <a:pt x="0" y="99117"/>
                </a:lnTo>
                <a:lnTo>
                  <a:pt x="0" y="33039"/>
                </a:lnTo>
                <a:lnTo>
                  <a:pt x="161374" y="33039"/>
                </a:lnTo>
                <a:lnTo>
                  <a:pt x="3815639" y="33039"/>
                </a:lnTo>
                <a:lnTo>
                  <a:pt x="7629385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9024" y="1175440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8341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5385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36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8487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8341" y="3757138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53853" y="3757138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9363" y="3757138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84873" y="3757138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8341" y="4095479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53853" y="4095479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9363" y="4095479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4873" y="4095479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5" name="Espace réservé pour une image  11">
            <a:extLst>
              <a:ext uri="{FF2B5EF4-FFF2-40B4-BE49-F238E27FC236}">
                <a16:creationId xmlns:a16="http://schemas.microsoft.com/office/drawing/2014/main" xmlns="" id="{026DD0D7-A6FD-4945-9FE2-3A359ED7912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0" y="0"/>
            <a:ext cx="3621481" cy="5143500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27913" y="336041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43425" y="336041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658935" y="336041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568662" y="336041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28" name="Espace réservé de la date 3">
            <a:extLst>
              <a:ext uri="{FF2B5EF4-FFF2-40B4-BE49-F238E27FC236}">
                <a16:creationId xmlns:a16="http://schemas.microsoft.com/office/drawing/2014/main" xmlns="" id="{DF1A8EF8-287A-4E3D-AEBD-D82AF442E3FD}"/>
              </a:ext>
            </a:extLst>
          </p:cNvPr>
          <p:cNvSpPr>
            <a:spLocks noGrp="1"/>
          </p:cNvSpPr>
          <p:nvPr>
            <p:ph type="dt" sz="half" idx="36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37C34725-5CB2-4EFC-9192-1A5488F7170C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982FB0BB-51CC-418F-A6FC-59665323B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483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8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Espace réservé pour une image  56">
            <a:extLst>
              <a:ext uri="{FF2B5EF4-FFF2-40B4-BE49-F238E27FC236}">
                <a16:creationId xmlns:a16="http://schemas.microsoft.com/office/drawing/2014/main" xmlns="" id="{9DB540FF-3588-4A85-9C5C-E2A1DB0ACDC2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8321282" y="-15395"/>
            <a:ext cx="3870719" cy="5681813"/>
          </a:xfrm>
          <a:custGeom>
            <a:avLst/>
            <a:gdLst>
              <a:gd name="connsiteX0" fmla="*/ 0 w 3870719"/>
              <a:gd name="connsiteY0" fmla="*/ 2865178 h 5681813"/>
              <a:gd name="connsiteX1" fmla="*/ 118478 w 3870719"/>
              <a:gd name="connsiteY1" fmla="*/ 2873285 h 5681813"/>
              <a:gd name="connsiteX2" fmla="*/ 772958 w 3870719"/>
              <a:gd name="connsiteY2" fmla="*/ 3325596 h 5681813"/>
              <a:gd name="connsiteX3" fmla="*/ 765784 w 3870719"/>
              <a:gd name="connsiteY3" fmla="*/ 4242158 h 5681813"/>
              <a:gd name="connsiteX4" fmla="*/ 104308 w 3870719"/>
              <a:gd name="connsiteY4" fmla="*/ 4683639 h 5681813"/>
              <a:gd name="connsiteX5" fmla="*/ 0 w 3870719"/>
              <a:gd name="connsiteY5" fmla="*/ 4689054 h 5681813"/>
              <a:gd name="connsiteX6" fmla="*/ 2298 w 3870719"/>
              <a:gd name="connsiteY6" fmla="*/ 0 h 5681813"/>
              <a:gd name="connsiteX7" fmla="*/ 3870719 w 3870719"/>
              <a:gd name="connsiteY7" fmla="*/ 0 h 5681813"/>
              <a:gd name="connsiteX8" fmla="*/ 3870719 w 3870719"/>
              <a:gd name="connsiteY8" fmla="*/ 5681813 h 5681813"/>
              <a:gd name="connsiteX9" fmla="*/ 2298 w 3870719"/>
              <a:gd name="connsiteY9" fmla="*/ 5681813 h 5681813"/>
              <a:gd name="connsiteX10" fmla="*/ 2298 w 3870719"/>
              <a:gd name="connsiteY10" fmla="*/ 4717353 h 5681813"/>
              <a:gd name="connsiteX11" fmla="*/ 108764 w 3870719"/>
              <a:gd name="connsiteY11" fmla="*/ 4711778 h 5681813"/>
              <a:gd name="connsiteX12" fmla="*/ 783935 w 3870719"/>
              <a:gd name="connsiteY12" fmla="*/ 4257299 h 5681813"/>
              <a:gd name="connsiteX13" fmla="*/ 791258 w 3870719"/>
              <a:gd name="connsiteY13" fmla="*/ 3313750 h 5681813"/>
              <a:gd name="connsiteX14" fmla="*/ 123229 w 3870719"/>
              <a:gd name="connsiteY14" fmla="*/ 2848122 h 5681813"/>
              <a:gd name="connsiteX15" fmla="*/ 2298 w 3870719"/>
              <a:gd name="connsiteY15" fmla="*/ 2839776 h 568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70719" h="5681813">
                <a:moveTo>
                  <a:pt x="0" y="2865178"/>
                </a:moveTo>
                <a:lnTo>
                  <a:pt x="118478" y="2873285"/>
                </a:lnTo>
                <a:cubicBezTo>
                  <a:pt x="391221" y="2910816"/>
                  <a:pt x="634433" y="3076509"/>
                  <a:pt x="772958" y="3325596"/>
                </a:cubicBezTo>
                <a:cubicBezTo>
                  <a:pt x="931274" y="3610267"/>
                  <a:pt x="928535" y="3960129"/>
                  <a:pt x="765784" y="4242158"/>
                </a:cubicBezTo>
                <a:cubicBezTo>
                  <a:pt x="623377" y="4488934"/>
                  <a:pt x="377604" y="4650601"/>
                  <a:pt x="104308" y="4683639"/>
                </a:cubicBezTo>
                <a:lnTo>
                  <a:pt x="0" y="4689054"/>
                </a:lnTo>
                <a:close/>
                <a:moveTo>
                  <a:pt x="2298" y="0"/>
                </a:moveTo>
                <a:lnTo>
                  <a:pt x="3870719" y="0"/>
                </a:lnTo>
                <a:lnTo>
                  <a:pt x="3870719" y="5681813"/>
                </a:lnTo>
                <a:lnTo>
                  <a:pt x="2298" y="5681813"/>
                </a:lnTo>
                <a:lnTo>
                  <a:pt x="2298" y="4717353"/>
                </a:lnTo>
                <a:lnTo>
                  <a:pt x="108764" y="4711778"/>
                </a:lnTo>
                <a:cubicBezTo>
                  <a:pt x="387718" y="4677768"/>
                  <a:pt x="638580" y="4511341"/>
                  <a:pt x="783935" y="4257299"/>
                </a:cubicBezTo>
                <a:cubicBezTo>
                  <a:pt x="950055" y="3966966"/>
                  <a:pt x="952851" y="3606803"/>
                  <a:pt x="791258" y="3313750"/>
                </a:cubicBezTo>
                <a:cubicBezTo>
                  <a:pt x="649865" y="3057329"/>
                  <a:pt x="401618" y="2886758"/>
                  <a:pt x="123229" y="2848122"/>
                </a:cubicBezTo>
                <a:lnTo>
                  <a:pt x="2298" y="283977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175440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cxnSp>
        <p:nvCxnSpPr>
          <p:cNvPr id="6" name="Google Shape;1226;p34">
            <a:extLst>
              <a:ext uri="{FF2B5EF4-FFF2-40B4-BE49-F238E27FC236}">
                <a16:creationId xmlns:a16="http://schemas.microsoft.com/office/drawing/2014/main" xmlns="" id="{1F5C82C3-9E61-4B50-9465-C623080F6C66}"/>
              </a:ext>
            </a:extLst>
          </p:cNvPr>
          <p:cNvCxnSpPr>
            <a:cxnSpLocks/>
          </p:cNvCxnSpPr>
          <p:nvPr userDrawn="1"/>
        </p:nvCxnSpPr>
        <p:spPr>
          <a:xfrm>
            <a:off x="-123368" y="2835946"/>
            <a:ext cx="8444649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none" w="med" len="med"/>
          </a:ln>
        </p:spPr>
      </p:cxn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792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6304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11814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7324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792" y="30618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96304" y="30618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11814" y="30618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27324" y="30618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0792" y="34001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6304" y="34001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11814" y="34001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27324" y="34001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70364" y="27698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85876" y="27698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01386" y="27698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11113" y="27698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cxnSp>
        <p:nvCxnSpPr>
          <p:cNvPr id="27" name="Google Shape;1226;p34">
            <a:extLst>
              <a:ext uri="{FF2B5EF4-FFF2-40B4-BE49-F238E27FC236}">
                <a16:creationId xmlns:a16="http://schemas.microsoft.com/office/drawing/2014/main" xmlns="" id="{23DF94F9-A260-43CD-9248-D99813267475}"/>
              </a:ext>
            </a:extLst>
          </p:cNvPr>
          <p:cNvCxnSpPr>
            <a:cxnSpLocks/>
          </p:cNvCxnSpPr>
          <p:nvPr userDrawn="1"/>
        </p:nvCxnSpPr>
        <p:spPr>
          <a:xfrm flipH="1">
            <a:off x="377825" y="4695734"/>
            <a:ext cx="7939861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arrow" w="med" len="med"/>
          </a:ln>
        </p:spPr>
      </p:cxn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6E483FAD-1FF2-4E6F-AD6C-10A215172D1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0792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40278062-5064-42DD-BA7C-79672AD14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6304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2455AF2F-DB1A-420F-B454-24A9A6CEF7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11814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xmlns="" id="{4BDB55D4-7059-4186-A888-98BF87E1BF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27324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40" name="Espace réservé du texte 16">
            <a:extLst>
              <a:ext uri="{FF2B5EF4-FFF2-40B4-BE49-F238E27FC236}">
                <a16:creationId xmlns:a16="http://schemas.microsoft.com/office/drawing/2014/main" xmlns="" id="{3774B387-0915-460D-A5C5-EE38F7D549B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0792" y="49355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1" name="Espace réservé du texte 16">
            <a:extLst>
              <a:ext uri="{FF2B5EF4-FFF2-40B4-BE49-F238E27FC236}">
                <a16:creationId xmlns:a16="http://schemas.microsoft.com/office/drawing/2014/main" xmlns="" id="{371177E5-C54B-426E-A5B9-32471D4CF1A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96304" y="49355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2" name="Espace réservé du texte 16">
            <a:extLst>
              <a:ext uri="{FF2B5EF4-FFF2-40B4-BE49-F238E27FC236}">
                <a16:creationId xmlns:a16="http://schemas.microsoft.com/office/drawing/2014/main" xmlns="" id="{FD305E3C-DE4E-4AF4-8DDC-90018E62B6B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211814" y="49355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3" name="Espace réservé du texte 16">
            <a:extLst>
              <a:ext uri="{FF2B5EF4-FFF2-40B4-BE49-F238E27FC236}">
                <a16:creationId xmlns:a16="http://schemas.microsoft.com/office/drawing/2014/main" xmlns="" id="{AF3390B6-61A7-40B1-A825-2954AF18355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27324" y="4935513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4" name="Espace réservé du texte 16">
            <a:extLst>
              <a:ext uri="{FF2B5EF4-FFF2-40B4-BE49-F238E27FC236}">
                <a16:creationId xmlns:a16="http://schemas.microsoft.com/office/drawing/2014/main" xmlns="" id="{5ED5135D-3F5E-42C4-B518-A439EFE49A4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0792" y="52738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5" name="Espace réservé du texte 16">
            <a:extLst>
              <a:ext uri="{FF2B5EF4-FFF2-40B4-BE49-F238E27FC236}">
                <a16:creationId xmlns:a16="http://schemas.microsoft.com/office/drawing/2014/main" xmlns="" id="{D2EC1CE9-2717-4BF0-9EFE-270FD6C1324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6304" y="52738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6" name="Espace réservé du texte 16">
            <a:extLst>
              <a:ext uri="{FF2B5EF4-FFF2-40B4-BE49-F238E27FC236}">
                <a16:creationId xmlns:a16="http://schemas.microsoft.com/office/drawing/2014/main" xmlns="" id="{2CF3B89E-1947-4759-B0C8-7F19998EEA7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11814" y="52738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7" name="Espace réservé du texte 16">
            <a:extLst>
              <a:ext uri="{FF2B5EF4-FFF2-40B4-BE49-F238E27FC236}">
                <a16:creationId xmlns:a16="http://schemas.microsoft.com/office/drawing/2014/main" xmlns="" id="{9D34728F-ABD5-4D0A-8813-9B49DC41609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27324" y="5273854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8" name="Espace réservé du texte 14">
            <a:extLst>
              <a:ext uri="{FF2B5EF4-FFF2-40B4-BE49-F238E27FC236}">
                <a16:creationId xmlns:a16="http://schemas.microsoft.com/office/drawing/2014/main" xmlns="" id="{17D0B598-D7F3-4D05-93C6-1150F0041C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70364" y="46435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49" name="Espace réservé du texte 14">
            <a:extLst>
              <a:ext uri="{FF2B5EF4-FFF2-40B4-BE49-F238E27FC236}">
                <a16:creationId xmlns:a16="http://schemas.microsoft.com/office/drawing/2014/main" xmlns="" id="{86BB90E2-1248-40AB-AF36-748A2695005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985876" y="46435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0" name="Espace réservé du texte 14">
            <a:extLst>
              <a:ext uri="{FF2B5EF4-FFF2-40B4-BE49-F238E27FC236}">
                <a16:creationId xmlns:a16="http://schemas.microsoft.com/office/drawing/2014/main" xmlns="" id="{872EB272-CB75-4765-AB78-ACDB84D84AE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901386" y="46435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1" name="Espace réservé du texte 14">
            <a:extLst>
              <a:ext uri="{FF2B5EF4-FFF2-40B4-BE49-F238E27FC236}">
                <a16:creationId xmlns:a16="http://schemas.microsoft.com/office/drawing/2014/main" xmlns="" id="{A231F584-48ED-46BD-9904-FDEA600ACC1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11113" y="4643568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3" name="Espace réservé de la date 3">
            <a:extLst>
              <a:ext uri="{FF2B5EF4-FFF2-40B4-BE49-F238E27FC236}">
                <a16:creationId xmlns:a16="http://schemas.microsoft.com/office/drawing/2014/main" xmlns="" id="{3258180C-5497-4C38-9C95-4375871FBF04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5C5C3E9F-CC57-40D2-A7F6-084B0916922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52" name="Espace réservé du pied de page 4">
            <a:extLst>
              <a:ext uri="{FF2B5EF4-FFF2-40B4-BE49-F238E27FC236}">
                <a16:creationId xmlns:a16="http://schemas.microsoft.com/office/drawing/2014/main" xmlns="" id="{71F260EF-9429-4601-91CB-C9EF7F767B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635595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05F86067-1E47-4559-8155-721EE640A36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4046" y="3372402"/>
            <a:ext cx="10438165" cy="132156"/>
          </a:xfrm>
          <a:custGeom>
            <a:avLst/>
            <a:gdLst>
              <a:gd name="connsiteX0" fmla="*/ 10336820 w 10438165"/>
              <a:gd name="connsiteY0" fmla="*/ 0 h 132156"/>
              <a:gd name="connsiteX1" fmla="*/ 10438165 w 10438165"/>
              <a:gd name="connsiteY1" fmla="*/ 66078 h 132156"/>
              <a:gd name="connsiteX2" fmla="*/ 10336820 w 10438165"/>
              <a:gd name="connsiteY2" fmla="*/ 132156 h 132156"/>
              <a:gd name="connsiteX3" fmla="*/ 10336820 w 10438165"/>
              <a:gd name="connsiteY3" fmla="*/ 99117 h 132156"/>
              <a:gd name="connsiteX4" fmla="*/ 6523074 w 10438165"/>
              <a:gd name="connsiteY4" fmla="*/ 99117 h 132156"/>
              <a:gd name="connsiteX5" fmla="*/ 6523074 w 10438165"/>
              <a:gd name="connsiteY5" fmla="*/ 99117 h 132156"/>
              <a:gd name="connsiteX6" fmla="*/ 2868809 w 10438165"/>
              <a:gd name="connsiteY6" fmla="*/ 99117 h 132156"/>
              <a:gd name="connsiteX7" fmla="*/ 0 w 10438165"/>
              <a:gd name="connsiteY7" fmla="*/ 99117 h 132156"/>
              <a:gd name="connsiteX8" fmla="*/ 0 w 10438165"/>
              <a:gd name="connsiteY8" fmla="*/ 33039 h 132156"/>
              <a:gd name="connsiteX9" fmla="*/ 2868809 w 10438165"/>
              <a:gd name="connsiteY9" fmla="*/ 33039 h 132156"/>
              <a:gd name="connsiteX10" fmla="*/ 6523074 w 10438165"/>
              <a:gd name="connsiteY10" fmla="*/ 33039 h 132156"/>
              <a:gd name="connsiteX11" fmla="*/ 6523074 w 10438165"/>
              <a:gd name="connsiteY11" fmla="*/ 33039 h 132156"/>
              <a:gd name="connsiteX12" fmla="*/ 10336820 w 10438165"/>
              <a:gd name="connsiteY12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438165" h="132156">
                <a:moveTo>
                  <a:pt x="10336820" y="0"/>
                </a:moveTo>
                <a:lnTo>
                  <a:pt x="10438165" y="66078"/>
                </a:lnTo>
                <a:lnTo>
                  <a:pt x="10336820" y="132156"/>
                </a:lnTo>
                <a:lnTo>
                  <a:pt x="10336820" y="99117"/>
                </a:lnTo>
                <a:lnTo>
                  <a:pt x="6523074" y="99117"/>
                </a:lnTo>
                <a:lnTo>
                  <a:pt x="6523074" y="99117"/>
                </a:lnTo>
                <a:lnTo>
                  <a:pt x="2868809" y="99117"/>
                </a:lnTo>
                <a:lnTo>
                  <a:pt x="0" y="99117"/>
                </a:lnTo>
                <a:lnTo>
                  <a:pt x="0" y="33039"/>
                </a:lnTo>
                <a:lnTo>
                  <a:pt x="2868809" y="33039"/>
                </a:lnTo>
                <a:lnTo>
                  <a:pt x="6523074" y="33039"/>
                </a:lnTo>
                <a:lnTo>
                  <a:pt x="6523074" y="33039"/>
                </a:lnTo>
                <a:lnTo>
                  <a:pt x="10336820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E691DEE2-E7EE-4FD9-AA00-F52560168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977" y="2944231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xmlns="" id="{AC5A7CE0-87C1-45B5-99A4-75E5E08DB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9977" y="3664349"/>
            <a:ext cx="1511300" cy="2446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FA116E92-7D11-408B-B5AD-1EDF39EF83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9977" y="4002690"/>
            <a:ext cx="1511300" cy="216982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5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2F111BF4-413D-45A3-B3CA-6D9F0066FE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9549" y="3372404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5A5558FD-4B9F-4745-B1F8-40D160C2C28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B3056663-A932-42F0-9FEA-AF12A8EF68DF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5FDC6C98-BC07-4D67-BC7B-3CEAAB3583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76350" y="2424296"/>
            <a:ext cx="738554" cy="286232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277D3F6A-8541-4344-ABE5-22A4F4D98C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250990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QUE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Logo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841500"/>
            <a:ext cx="1809750" cy="104140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53531" y="1841500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1124" y="1841500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C385255D-FB3C-44BF-9352-E8F2F8EB248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28717" y="1841500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E1570A94-4308-43FB-8D2A-C370C942C75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66312" y="1841500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3712B59D-6FE6-4DC5-A305-1C40F51606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8" y="3111501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748AEA66-35BE-46AC-9581-E93250F3A6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53531" y="3111501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C59BF378-C6A3-453C-9277-101978A11C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91124" y="3111501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78E15921-3DC1-448F-AE2F-B0CB363DFCA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28717" y="3111501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D3E3F41F-E7AA-4174-84E6-6DEB41A8E84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866312" y="3111501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1E0694AA-56B5-4EB0-8F7F-B2ACE190528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4381502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6">
            <a:extLst>
              <a:ext uri="{FF2B5EF4-FFF2-40B4-BE49-F238E27FC236}">
                <a16:creationId xmlns:a16="http://schemas.microsoft.com/office/drawing/2014/main" xmlns="" id="{3DAAACB5-F9BA-47AD-A403-C1FEB505CD9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53531" y="4381502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6">
            <a:extLst>
              <a:ext uri="{FF2B5EF4-FFF2-40B4-BE49-F238E27FC236}">
                <a16:creationId xmlns:a16="http://schemas.microsoft.com/office/drawing/2014/main" xmlns="" id="{BA563421-C308-4E5B-AFAB-2C59C30168F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191124" y="4381502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7" name="Espace réservé pour une image  6">
            <a:extLst>
              <a:ext uri="{FF2B5EF4-FFF2-40B4-BE49-F238E27FC236}">
                <a16:creationId xmlns:a16="http://schemas.microsoft.com/office/drawing/2014/main" xmlns="" id="{9B5B6516-F62C-45A2-925F-A90BB58866B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528717" y="4381502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8" name="Espace réservé pour une image  6">
            <a:extLst>
              <a:ext uri="{FF2B5EF4-FFF2-40B4-BE49-F238E27FC236}">
                <a16:creationId xmlns:a16="http://schemas.microsoft.com/office/drawing/2014/main" xmlns="" id="{C245E10D-6E69-496C-A2B5-54BAADDEF41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866312" y="4381502"/>
            <a:ext cx="1809750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30" name="Espace réservé de la date 3">
            <a:extLst>
              <a:ext uri="{FF2B5EF4-FFF2-40B4-BE49-F238E27FC236}">
                <a16:creationId xmlns:a16="http://schemas.microsoft.com/office/drawing/2014/main" xmlns="" id="{8E36535D-58BA-4098-BF98-FB87F0311B6F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C8019FE7-6BBB-4674-9997-C2AFF604598E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9" name="Espace réservé du pied de page 4">
            <a:extLst>
              <a:ext uri="{FF2B5EF4-FFF2-40B4-BE49-F238E27FC236}">
                <a16:creationId xmlns:a16="http://schemas.microsoft.com/office/drawing/2014/main" xmlns="" id="{AAC0BD2F-21A3-4565-A366-E56AF8BC0F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21690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5" y="6207123"/>
            <a:ext cx="5425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xmlns="" id="{80CB2CAE-DA19-44A0-B562-9B1CC3A19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6" y="1521272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fr-FR" sz="54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xmlns="" id="{CB788E12-8F9C-47D2-B45B-95CC7630D9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4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A2ED9C23-B8AD-44D8-A82F-3200197147D0}" type="datetime1">
              <a:rPr lang="fr-FR" smtClean="0">
                <a:solidFill>
                  <a:prstClr val="white"/>
                </a:solidFill>
              </a:rPr>
              <a:pPr defTabSz="91440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87445FF-EB2B-4E36-800B-9411AEB9D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bg1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>
                <a:solidFill>
                  <a:prstClr val="white"/>
                </a:solidFill>
              </a:rPr>
              <a:t>Titre de la présentation / Nom de la direction</a:t>
            </a:r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6289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95884A5-D607-4221-9CF7-5B3FD9CB7A95}"/>
              </a:ext>
            </a:extLst>
          </p:cNvPr>
          <p:cNvSpPr/>
          <p:nvPr userDrawn="1"/>
        </p:nvSpPr>
        <p:spPr>
          <a:xfrm>
            <a:off x="0" y="0"/>
            <a:ext cx="6096000" cy="48840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 dirty="0">
              <a:solidFill>
                <a:prstClr val="white"/>
              </a:solidFill>
            </a:endParaRPr>
          </a:p>
        </p:txBody>
      </p:sp>
      <p:pic>
        <p:nvPicPr>
          <p:cNvPr id="6" name="Picture 2" descr="Covéa — Wikipédia">
            <a:hlinkClick r:id="rId2"/>
            <a:extLst>
              <a:ext uri="{FF2B5EF4-FFF2-40B4-BE49-F238E27FC236}">
                <a16:creationId xmlns:a16="http://schemas.microsoft.com/office/drawing/2014/main" xmlns="" id="{C8B992BC-B9C9-4F95-8E2B-151A4F2C5F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7"/>
          <a:stretch/>
        </p:blipFill>
        <p:spPr bwMode="auto">
          <a:xfrm>
            <a:off x="7541663" y="1207533"/>
            <a:ext cx="3015078" cy="30547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xmlns="" id="{D2AEFB68-5C60-46CB-842B-D15735058703}"/>
              </a:ext>
            </a:extLst>
          </p:cNvPr>
          <p:cNvGrpSpPr/>
          <p:nvPr userDrawn="1"/>
        </p:nvGrpSpPr>
        <p:grpSpPr>
          <a:xfrm>
            <a:off x="7601561" y="4211780"/>
            <a:ext cx="2895283" cy="465263"/>
            <a:chOff x="7601561" y="4576112"/>
            <a:chExt cx="2895283" cy="465263"/>
          </a:xfrm>
        </p:grpSpPr>
        <p:pic>
          <p:nvPicPr>
            <p:cNvPr id="8" name="Image 7">
              <a:hlinkClick r:id="rId4"/>
              <a:extLst>
                <a:ext uri="{FF2B5EF4-FFF2-40B4-BE49-F238E27FC236}">
                  <a16:creationId xmlns:a16="http://schemas.microsoft.com/office/drawing/2014/main" xmlns="" id="{F6312640-EFB4-4728-AFE6-EFBADAB930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09066" y="4576112"/>
              <a:ext cx="465263" cy="465263"/>
            </a:xfrm>
            <a:prstGeom prst="rect">
              <a:avLst/>
            </a:prstGeom>
          </p:spPr>
        </p:pic>
        <p:pic>
          <p:nvPicPr>
            <p:cNvPr id="10" name="Image 9">
              <a:hlinkClick r:id="rId6"/>
              <a:extLst>
                <a:ext uri="{FF2B5EF4-FFF2-40B4-BE49-F238E27FC236}">
                  <a16:creationId xmlns:a16="http://schemas.microsoft.com/office/drawing/2014/main" xmlns="" id="{82CE114C-CF1C-4E53-B642-579E8FDAD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6571" y="4576112"/>
              <a:ext cx="465263" cy="465263"/>
            </a:xfrm>
            <a:prstGeom prst="rect">
              <a:avLst/>
            </a:prstGeom>
          </p:spPr>
        </p:pic>
        <p:pic>
          <p:nvPicPr>
            <p:cNvPr id="12" name="Image 11">
              <a:hlinkClick r:id="rId8"/>
              <a:extLst>
                <a:ext uri="{FF2B5EF4-FFF2-40B4-BE49-F238E27FC236}">
                  <a16:creationId xmlns:a16="http://schemas.microsoft.com/office/drawing/2014/main" xmlns="" id="{22D4249A-B29C-4178-95D6-700B2330B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4076" y="4576112"/>
              <a:ext cx="465263" cy="465263"/>
            </a:xfrm>
            <a:prstGeom prst="rect">
              <a:avLst/>
            </a:prstGeom>
          </p:spPr>
        </p:pic>
        <p:pic>
          <p:nvPicPr>
            <p:cNvPr id="14" name="Image 13">
              <a:hlinkClick r:id="rId10"/>
              <a:extLst>
                <a:ext uri="{FF2B5EF4-FFF2-40B4-BE49-F238E27FC236}">
                  <a16:creationId xmlns:a16="http://schemas.microsoft.com/office/drawing/2014/main" xmlns="" id="{6BE745F4-58D3-40F5-98EC-A84E406E0D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1581" y="4576112"/>
              <a:ext cx="465263" cy="465263"/>
            </a:xfrm>
            <a:prstGeom prst="rect">
              <a:avLst/>
            </a:prstGeom>
          </p:spPr>
        </p:pic>
        <p:pic>
          <p:nvPicPr>
            <p:cNvPr id="16" name="Image 15">
              <a:hlinkClick r:id="rId12"/>
              <a:extLst>
                <a:ext uri="{FF2B5EF4-FFF2-40B4-BE49-F238E27FC236}">
                  <a16:creationId xmlns:a16="http://schemas.microsoft.com/office/drawing/2014/main" xmlns="" id="{B3DEF095-6653-4CA8-AAB6-751EEC0A60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1561" y="4576112"/>
              <a:ext cx="465263" cy="465263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F3EDA69-61A5-4FF7-A439-2601D015BA37}"/>
              </a:ext>
            </a:extLst>
          </p:cNvPr>
          <p:cNvSpPr/>
          <p:nvPr userDrawn="1"/>
        </p:nvSpPr>
        <p:spPr>
          <a:xfrm>
            <a:off x="371475" y="5805713"/>
            <a:ext cx="11635833" cy="888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B14F91C-CC08-448A-9A5F-5AC558C4B5A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40080" y="2149134"/>
            <a:ext cx="4815840" cy="585788"/>
          </a:xfrm>
        </p:spPr>
        <p:txBody>
          <a:bodyPr anchor="ctr"/>
          <a:lstStyle>
            <a:lvl1pPr algn="ct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t de fin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F67589F2-3C6F-4EBC-94B7-89EBEB6CD59C}"/>
              </a:ext>
            </a:extLst>
          </p:cNvPr>
          <p:cNvSpPr txBox="1">
            <a:spLocks/>
          </p:cNvSpPr>
          <p:nvPr userDrawn="1"/>
        </p:nvSpPr>
        <p:spPr>
          <a:xfrm>
            <a:off x="7680960" y="823233"/>
            <a:ext cx="2788920" cy="55386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2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endParaRPr lang="fr-FR" sz="1600" dirty="0">
              <a:solidFill>
                <a:srgbClr val="5B697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AB92FE6-9711-414B-82A2-C395EF4AAEEF}"/>
              </a:ext>
            </a:extLst>
          </p:cNvPr>
          <p:cNvSpPr/>
          <p:nvPr userDrawn="1"/>
        </p:nvSpPr>
        <p:spPr>
          <a:xfrm>
            <a:off x="6096000" y="6199186"/>
            <a:ext cx="6096000" cy="6588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 dirty="0">
              <a:solidFill>
                <a:prstClr val="white"/>
              </a:solidFill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C3E24380-7F52-4BF4-8FAF-ADCF3945FE3C}"/>
              </a:ext>
            </a:extLst>
          </p:cNvPr>
          <p:cNvSpPr txBox="1">
            <a:spLocks/>
          </p:cNvSpPr>
          <p:nvPr userDrawn="1"/>
        </p:nvSpPr>
        <p:spPr>
          <a:xfrm>
            <a:off x="7654742" y="4574914"/>
            <a:ext cx="2788920" cy="55386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2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sz="1600" dirty="0">
                <a:solidFill>
                  <a:srgbClr val="5B6971"/>
                </a:solidFill>
              </a:rPr>
              <a:t>@groupecovea - covea.eu</a:t>
            </a:r>
          </a:p>
        </p:txBody>
      </p:sp>
    </p:spTree>
    <p:extLst>
      <p:ext uri="{BB962C8B-B14F-4D97-AF65-F5344CB8AC3E}">
        <p14:creationId xmlns:p14="http://schemas.microsoft.com/office/powerpoint/2010/main" val="341828962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oto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="" xmlns:a16="http://schemas.microsoft.com/office/drawing/2014/main" id="{17454C7C-67D1-4C02-9DD8-D4AB0A0B4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865" y="273597"/>
            <a:ext cx="11119972" cy="8333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5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defRPr sz="245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spcBef>
                <a:spcPts val="0"/>
              </a:spcBef>
              <a:buNone/>
              <a:defRPr sz="245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spcBef>
                <a:spcPts val="0"/>
              </a:spcBef>
              <a:buNone/>
              <a:defRPr sz="245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spcBef>
                <a:spcPts val="0"/>
              </a:spcBef>
              <a:buNone/>
              <a:defRPr sz="245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="" xmlns:a16="http://schemas.microsoft.com/office/drawing/2014/main" id="{99384537-DE9D-430A-BE4D-ABDB3E7E2C6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106905"/>
            <a:ext cx="11321490" cy="4831558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="" xmlns:a16="http://schemas.microsoft.com/office/drawing/2014/main" id="{7A1255C9-EEBB-4DCC-8911-EDF3CAF3E0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2"/>
            <a:ext cx="720000" cy="711536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="" xmlns:a16="http://schemas.microsoft.com/office/drawing/2014/main" id="{02F6C2E6-313C-483E-9EF2-B7D8E9BA882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7" y="6480847"/>
            <a:ext cx="842218" cy="151881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914400"/>
            <a:fld id="{8638B0A2-0B5B-49C4-A315-0F6269C583F8}" type="datetime1">
              <a:rPr lang="fr-FR" smtClean="0"/>
              <a:pPr defTabSz="914400"/>
              <a:t>15/03/2023</a:t>
            </a:fld>
            <a:endParaRPr lang="fr-FR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="" xmlns:a16="http://schemas.microsoft.com/office/drawing/2014/main" id="{C38E831E-240D-4874-BDD7-F8187B894AC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7" y="6261853"/>
            <a:ext cx="4903578" cy="218994"/>
          </a:xfrm>
          <a:prstGeom prst="rect">
            <a:avLst/>
          </a:prstGeom>
        </p:spPr>
        <p:txBody>
          <a:bodyPr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="" xmlns:a16="http://schemas.microsoft.com/office/drawing/2014/main" id="{5C11A2E4-1393-465E-8F68-3997F6E1D1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776496" y="6251559"/>
            <a:ext cx="716400" cy="365125"/>
          </a:xfrm>
          <a:prstGeom prst="rect">
            <a:avLst/>
          </a:prstGeom>
        </p:spPr>
        <p:txBody>
          <a:bodyPr/>
          <a:lstStyle>
            <a:lvl1pPr algn="ctr">
              <a:defRPr sz="10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211031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628129" y="6327259"/>
            <a:ext cx="2844800" cy="292384"/>
          </a:xfrm>
          <a:prstGeom prst="rect">
            <a:avLst/>
          </a:prstGeom>
        </p:spPr>
        <p:txBody>
          <a:bodyPr lIns="121917" tIns="60958" rIns="121917" bIns="60958"/>
          <a:lstStyle/>
          <a:p>
            <a:pPr defTabSz="913493"/>
            <a:fld id="{769DAEFC-9138-4094-A4E8-955306EB6491}" type="datetime2">
              <a:rPr lang="fr-FR" smtClean="0">
                <a:solidFill>
                  <a:prstClr val="black"/>
                </a:solidFill>
              </a:rPr>
              <a:pPr defTabSz="913493"/>
              <a:t>mercredi 15 mars 2023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C6585-F38B-41B2-AB3D-F869C80BC918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xmlns="" id="{79EEB181-6931-46F1-9465-A164F954594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41556" y="1268413"/>
            <a:ext cx="11800416" cy="482488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3413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5708" y="1475873"/>
            <a:ext cx="11410099" cy="452845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SzPct val="120000"/>
              <a:defRPr sz="1500">
                <a:solidFill>
                  <a:srgbClr val="A3916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fr-FR" dirty="0" smtClean="0"/>
              <a:t>Texte - Niveau 1</a:t>
            </a:r>
          </a:p>
          <a:p>
            <a:pPr lvl="1"/>
            <a:r>
              <a:rPr lang="fr-FR" dirty="0" smtClean="0"/>
              <a:t>Texte - Niveau 2</a:t>
            </a:r>
          </a:p>
          <a:p>
            <a:pPr lvl="2"/>
            <a:r>
              <a:rPr lang="fr-FR" dirty="0" smtClean="0"/>
              <a:t>Texte - Niveau 3</a:t>
            </a:r>
          </a:p>
          <a:p>
            <a:pPr marL="1143000" marR="0" lvl="2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 dirty="0" smtClean="0"/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>
          <a:xfrm>
            <a:off x="874131" y="67646"/>
            <a:ext cx="10972800" cy="1067619"/>
          </a:xfrm>
          <a:prstGeom prst="rect">
            <a:avLst/>
          </a:prstGeom>
        </p:spPr>
        <p:txBody>
          <a:bodyPr/>
          <a:lstStyle>
            <a:lvl1pPr algn="l">
              <a:defRPr sz="2000" b="1" baseline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/>
              <a:t>Titre sur une</a:t>
            </a:r>
            <a:br>
              <a:rPr lang="fr-FR" dirty="0" smtClean="0"/>
            </a:br>
            <a:r>
              <a:rPr lang="fr-FR" dirty="0" smtClean="0"/>
              <a:t>ou deux lignes</a:t>
            </a:r>
            <a:endParaRPr lang="fr-FR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65874" y="6511503"/>
            <a:ext cx="2950185" cy="309033"/>
          </a:xfrm>
          <a:prstGeom prst="rect">
            <a:avLst/>
          </a:prstGeom>
        </p:spPr>
        <p:txBody>
          <a:bodyPr/>
          <a:lstStyle>
            <a:lvl1pPr>
              <a:defRPr sz="1000" b="1">
                <a:solidFill>
                  <a:srgbClr val="A3916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C0F2572B-0B10-4311-8BDC-83DC7760E35C}" type="slidenum">
              <a:rPr lang="fr-FR" altLang="fr-FR" smtClean="0"/>
              <a:pPr/>
              <a:t>‹N°›</a:t>
            </a:fld>
            <a:r>
              <a:rPr lang="fr-FR" altLang="fr-FR" dirty="0" smtClean="0"/>
              <a:t> </a:t>
            </a:r>
            <a:r>
              <a:rPr lang="fr-FR" altLang="fr-FR" sz="800" b="0" dirty="0" smtClean="0"/>
              <a:t>l </a:t>
            </a:r>
            <a:fld id="{CC82B17C-EDD5-4388-B07B-D6207CC25252}" type="datetime2">
              <a:rPr lang="fr-FR" altLang="fr-FR" sz="800" b="0" smtClean="0"/>
              <a:pPr/>
              <a:t>mercredi 15 mars 2023</a:t>
            </a:fld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400492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17454C7C-67D1-4C02-9DD8-D4AB0A0B45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867" y="273599"/>
            <a:ext cx="11119972" cy="833308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99384537-DE9D-430A-BE4D-ABDB3E7E2C6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106915"/>
            <a:ext cx="11321491" cy="4831559"/>
          </a:xfrm>
          <a:prstGeom prst="rect">
            <a:avLst/>
          </a:prstGeom>
        </p:spPr>
        <p:txBody>
          <a:bodyPr lIns="91424" tIns="45718" rIns="91424" bIns="45718"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7A1255C9-EEBB-4DCC-8911-EDF3CAF3E0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xmlns="" id="{02F6C2E6-313C-483E-9EF2-B7D8E9BA882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C38E831E-240D-4874-BDD7-F8187B894AC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5C11A2E4-1393-465E-8F68-3997F6E1D1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25472106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409152" y="20417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6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398713" y="295822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7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398713" y="386010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7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388277" y="4776589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30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81" y="205635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41" y="2972841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41" y="3874717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05" y="4791205"/>
            <a:ext cx="731683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5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5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52" y="387472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7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0118490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5708" y="1475873"/>
            <a:ext cx="11410099" cy="452845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SzPct val="120000"/>
              <a:defRPr sz="1500">
                <a:solidFill>
                  <a:srgbClr val="A3916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fr-FR" dirty="0" smtClean="0"/>
              <a:t>Texte - Niveau 1</a:t>
            </a:r>
          </a:p>
          <a:p>
            <a:pPr lvl="1"/>
            <a:r>
              <a:rPr lang="fr-FR" dirty="0" smtClean="0"/>
              <a:t>Texte - Niveau 2</a:t>
            </a:r>
          </a:p>
          <a:p>
            <a:pPr lvl="2"/>
            <a:r>
              <a:rPr lang="fr-FR" dirty="0" smtClean="0"/>
              <a:t>Texte - Niveau 3</a:t>
            </a:r>
          </a:p>
          <a:p>
            <a:pPr marL="1143000" marR="0" lvl="2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 dirty="0" smtClean="0"/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 smtClean="0"/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>
          <a:xfrm>
            <a:off x="874131" y="67646"/>
            <a:ext cx="10972800" cy="1067619"/>
          </a:xfrm>
          <a:prstGeom prst="rect">
            <a:avLst/>
          </a:prstGeom>
        </p:spPr>
        <p:txBody>
          <a:bodyPr/>
          <a:lstStyle>
            <a:lvl1pPr algn="l">
              <a:defRPr sz="2000" b="1" baseline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dirty="0" smtClean="0"/>
              <a:t>Titre sur une</a:t>
            </a:r>
            <a:br>
              <a:rPr lang="fr-FR" dirty="0" smtClean="0"/>
            </a:br>
            <a:r>
              <a:rPr lang="fr-FR" dirty="0" smtClean="0"/>
              <a:t>ou deux lignes</a:t>
            </a:r>
            <a:endParaRPr lang="fr-FR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65874" y="6511503"/>
            <a:ext cx="2950185" cy="309033"/>
          </a:xfrm>
          <a:prstGeom prst="rect">
            <a:avLst/>
          </a:prstGeom>
        </p:spPr>
        <p:txBody>
          <a:bodyPr/>
          <a:lstStyle>
            <a:lvl1pPr>
              <a:defRPr sz="1000" b="1">
                <a:solidFill>
                  <a:srgbClr val="A3916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C0F2572B-0B10-4311-8BDC-83DC7760E35C}" type="slidenum">
              <a:rPr lang="fr-FR" altLang="fr-FR" smtClean="0"/>
              <a:pPr/>
              <a:t>‹N°›</a:t>
            </a:fld>
            <a:r>
              <a:rPr lang="fr-FR" altLang="fr-FR" dirty="0" smtClean="0"/>
              <a:t> </a:t>
            </a:r>
            <a:r>
              <a:rPr lang="fr-FR" altLang="fr-FR" sz="800" b="0" dirty="0" smtClean="0"/>
              <a:t>l </a:t>
            </a:r>
            <a:fld id="{CC82B17C-EDD5-4388-B07B-D6207CC25252}" type="datetime2">
              <a:rPr lang="fr-FR" altLang="fr-FR" sz="800" b="0" smtClean="0"/>
              <a:pPr/>
              <a:t>mercredi 15 mars 2023</a:t>
            </a:fld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1478036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2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7C652D5C-354E-4F95-9E27-AE103543BEA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0A1E24A-D422-49C8-BEA4-CE097042BCC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C3D40BBF-944A-416E-B91B-177D507055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30718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269851446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APL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/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D01557-8780-4AFB-9F83-6DC3001B595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xmlns="" id="{7AF59C7F-B8CA-4A9E-9002-DB7FA0A9DC50}"/>
              </a:ext>
            </a:extLst>
          </p:cNvPr>
          <p:cNvSpPr/>
          <p:nvPr userDrawn="1"/>
        </p:nvSpPr>
        <p:spPr>
          <a:xfrm>
            <a:off x="0" y="2387603"/>
            <a:ext cx="6096000" cy="4470399"/>
          </a:xfrm>
          <a:custGeom>
            <a:avLst/>
            <a:gdLst>
              <a:gd name="connsiteX0" fmla="*/ 0 w 6096000"/>
              <a:gd name="connsiteY0" fmla="*/ 0 h 4470399"/>
              <a:gd name="connsiteX1" fmla="*/ 6096000 w 6096000"/>
              <a:gd name="connsiteY1" fmla="*/ 0 h 4470399"/>
              <a:gd name="connsiteX2" fmla="*/ 6096000 w 6096000"/>
              <a:gd name="connsiteY2" fmla="*/ 4470399 h 4470399"/>
              <a:gd name="connsiteX3" fmla="*/ 0 w 6096000"/>
              <a:gd name="connsiteY3" fmla="*/ 4470399 h 447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4470399">
                <a:moveTo>
                  <a:pt x="0" y="0"/>
                </a:moveTo>
                <a:lnTo>
                  <a:pt x="6096000" y="0"/>
                </a:lnTo>
                <a:lnTo>
                  <a:pt x="6096000" y="4470399"/>
                </a:lnTo>
                <a:lnTo>
                  <a:pt x="0" y="44703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8EFC1F0-C777-4C30-97A6-D0218670454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2691823-A744-47E3-B88A-E3729559A96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C39EE73-D8D9-41FA-B8A6-E49888A68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30718"/>
            <a:ext cx="4151085" cy="585788"/>
          </a:xfrm>
        </p:spPr>
        <p:txBody>
          <a:bodyPr/>
          <a:lstStyle>
            <a:lvl1pPr marL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r>
              <a:rPr lang="fr-FR" dirty="0">
                <a:solidFill>
                  <a:schemeClr val="tx2"/>
                </a:solidFill>
              </a:rPr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24425542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4358D221-17EC-4E91-A267-A18AF6FDC7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387602"/>
            <a:ext cx="6096000" cy="4470399"/>
          </a:xfrm>
        </p:spPr>
        <p:txBody>
          <a:bodyPr/>
          <a:lstStyle/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0864359-E859-45DD-BCDD-C7B22040926C}"/>
              </a:ext>
            </a:extLst>
          </p:cNvPr>
          <p:cNvSpPr/>
          <p:nvPr userDrawn="1"/>
        </p:nvSpPr>
        <p:spPr>
          <a:xfrm>
            <a:off x="11234059" y="5807581"/>
            <a:ext cx="726295" cy="7578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13" name="Picture 2" descr="Covéa — Wikipédia">
            <a:extLst>
              <a:ext uri="{FF2B5EF4-FFF2-40B4-BE49-F238E27FC236}">
                <a16:creationId xmlns:a16="http://schemas.microsoft.com/office/drawing/2014/main" xmlns="" id="{F20CD176-46E5-4E98-8700-68A8DE16995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428"/>
          <a:stretch/>
        </p:blipFill>
        <p:spPr bwMode="auto">
          <a:xfrm>
            <a:off x="5840816" y="396371"/>
            <a:ext cx="4013109" cy="2235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xmlns="" id="{674851F1-ED1F-428F-BB0C-6286AEE87E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088" y="4621978"/>
            <a:ext cx="4151085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2A629A42-1DA9-43C6-A2A9-18BC6203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1088" y="3344959"/>
            <a:ext cx="4151085" cy="585788"/>
          </a:xfrm>
        </p:spPr>
        <p:txBody>
          <a:bodyPr/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43F3B31-46E5-4369-B906-4C4F081A9F87}"/>
              </a:ext>
            </a:extLst>
          </p:cNvPr>
          <p:cNvSpPr/>
          <p:nvPr userDrawn="1"/>
        </p:nvSpPr>
        <p:spPr>
          <a:xfrm>
            <a:off x="0" y="6034605"/>
            <a:ext cx="12192000" cy="8233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528044B-FC8F-4D4C-A450-E3037108D40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91088" y="6034609"/>
            <a:ext cx="1657577" cy="15188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6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0102B91-0EB1-4125-A341-6FA39DC37BE0}" type="datetime1">
              <a:rPr lang="fr-FR" smtClean="0">
                <a:solidFill>
                  <a:prstClr val="white"/>
                </a:solidFill>
              </a:rPr>
              <a:pPr defTabSz="121917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85E6E4B5-D86D-4822-8FC8-7CE3723579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393282"/>
            <a:ext cx="4151085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Ajouter le nom de la direction</a:t>
            </a:r>
          </a:p>
        </p:txBody>
      </p:sp>
    </p:spTree>
    <p:extLst>
      <p:ext uri="{BB962C8B-B14F-4D97-AF65-F5344CB8AC3E}">
        <p14:creationId xmlns:p14="http://schemas.microsoft.com/office/powerpoint/2010/main" val="110645220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xmlns="" id="{5C80AA35-0471-4203-B6C1-7866EE61ED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1306084" cy="5915219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xmlns="" id="{D2E6CB0B-970B-40B0-96E6-1EF9244A48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2107062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résentation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xmlns="" id="{A2F7116B-AFF5-4CEF-8363-908E28B67B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1521274"/>
            <a:ext cx="5727697" cy="5857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494488A-93AD-44D5-A784-4A7BE3366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xmlns="" id="{96F3BD23-9740-4E06-8CB8-575FEA355BE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DD9A66CE-D2FB-4120-9E2B-20D34E77008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346728B-F008-44A2-803D-AD096BFC1D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65445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0EF7202-CABE-48B8-9D8F-2838BAB6A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4C6B0E88-AA84-4823-AB4B-335B134487D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99FD8C-C5FB-487A-B57A-EA7C5CDA875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E72C683-1160-4768-980E-BF3323862B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730826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638C6941-90EF-482F-A340-4DC3EAB04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AC2821E-5880-4028-89E0-33241DD90FF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955E7FF-0469-41AA-A090-837574A1EE2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D226DB2-172A-4700-828F-F960B2037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9960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5041278-7EFF-4A3B-86F5-E47FF494F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6349CB34-ECFF-4CBD-A4ED-AC4CD1473E0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79C48CF-799C-498B-BF2E-5B492CE3BC1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7C90BEE6-A444-4342-808D-2947F2EE3A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956173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D2167A1-0CC8-407A-ADC6-E41D92483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575EED5D-C3C3-49FB-B3A6-C33B8B91DBC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2123D6B-C94F-4368-89FE-51095D3AD5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B7097614-4C4E-48CC-A8E5-E9EF8DD15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21142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5F425827-C777-4641-9D73-E99B91B45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BAE57E4B-19B1-4649-B10E-ECCCE6C3C4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B763885-C0F9-406A-91B6-7819A193A4F9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AEEA620D-A463-4452-A6FC-673B193CF6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8461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4C00B8F-F895-7E40-9A20-C0FD2F8E41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248639" y="20417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6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238199" y="295822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7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238199" y="386010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7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227761" y="477658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30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90" y="205635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51" y="29728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51" y="387471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14" y="4791205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5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5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52" y="387472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7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944671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FA025740-A42B-4245-B379-045F2903F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F29D8C42-48F6-40B2-A0BF-F73E1F90010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3C15647-DAA7-4533-8CCB-401C2DAF57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F1E8993-ACF8-44DD-8A6B-E5A4C4EF6E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83879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16AB2E48-C4EA-4FD0-BC9C-1D23FAC68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D79A2E5-5F4C-4A2E-8B8A-7CC8637A83A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4328397-26C5-477D-99EB-51ADED1686B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D286CEF6-0CDC-452D-B1FD-68106DE22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22749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</p:spPr>
        <p:txBody>
          <a:bodyPr/>
          <a:lstStyle>
            <a:lvl1pPr marL="0"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 marL="0"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B9129676-F1A7-4BEF-AE8C-CEAFFAEB3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2092A64A-34B8-4C1B-A4C9-DD2DA811EC9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DE2937E-D5BC-42E4-B2F3-FFD0FAB9D85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B94CE990-D34A-4542-B0A0-7BDCA04176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26283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88240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251581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4010590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387627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4D1F83DB-65DA-4D62-BEBF-E37AB744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E0770E61-974C-4DEC-9394-5E0D0392612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5AADB02-DCA7-4702-9AE0-51C128500B0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AC720E4-4105-47E6-B12A-12855991B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34156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3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4" name="Espace réservé pour une image  17">
            <a:extLst>
              <a:ext uri="{FF2B5EF4-FFF2-40B4-BE49-F238E27FC236}">
                <a16:creationId xmlns:a16="http://schemas.microsoft.com/office/drawing/2014/main" xmlns="" id="{1F4EFE96-60EA-4C75-A0F7-6A2B4A921E9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745113" y="1243013"/>
            <a:ext cx="5561011" cy="4695208"/>
          </a:xfrm>
          <a:noFill/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EEC09ECA-7631-4E80-8398-EC973357D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2D400CE2-8287-46B5-8D92-C2D7EEFAE83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10B56F5-CAEE-4AEE-8268-2D572454202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8F3ABAF9-49A4-4F91-AC21-B058780C86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82402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4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406676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4066760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5605624" y="2575520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27001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419494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270017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419494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2571985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xmlns="" id="{168A2226-2478-4DB6-BEC4-1185590D14BE}"/>
              </a:ext>
            </a:extLst>
          </p:cNvPr>
          <p:cNvCxnSpPr>
            <a:cxnSpLocks/>
          </p:cNvCxnSpPr>
          <p:nvPr userDrawn="1"/>
        </p:nvCxnSpPr>
        <p:spPr>
          <a:xfrm>
            <a:off x="371475" y="2269864"/>
            <a:ext cx="0" cy="278085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4305C75D-3A35-4E69-9F5E-1C8A2BF3D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5" name="Espace réservé de la date 3">
            <a:extLst>
              <a:ext uri="{FF2B5EF4-FFF2-40B4-BE49-F238E27FC236}">
                <a16:creationId xmlns:a16="http://schemas.microsoft.com/office/drawing/2014/main" xmlns="" id="{33E6B89B-6A15-4D57-B2E6-2AE412BF5A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E24CB04-1A40-4D08-9A61-EE1CCEAEC43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xmlns="" id="{1EB5BED6-B91D-4124-BD85-DB416808AF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25460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5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9"/>
            <a:ext cx="0" cy="2936583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1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327069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C9D944E-5974-44A4-AF8F-73C0D301C5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56ADF8D8-D6CD-468C-9C08-50F3F8FB9B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88725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461248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3270696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5616641" y="1775921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3270696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4761494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47619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904107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3398883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4893658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759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9CFF3E6-37FC-4FBD-AC0E-878B7B9458D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0539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7"/>
            <a:ext cx="0" cy="3212353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5" y="4730797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1713748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2718803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37336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53B141A-0150-4973-8B45-73449F26F0C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4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800" y="3730209"/>
            <a:ext cx="756045" cy="661691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11517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 6 PAR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C004E69F-06CB-4494-848A-66FEA9965FA2}"/>
              </a:ext>
            </a:extLst>
          </p:cNvPr>
          <p:cNvCxnSpPr>
            <a:cxnSpLocks/>
          </p:cNvCxnSpPr>
          <p:nvPr userDrawn="1"/>
        </p:nvCxnSpPr>
        <p:spPr>
          <a:xfrm>
            <a:off x="371475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xmlns="" id="{8520D08C-5F56-487A-A458-84D7C0C4988F}"/>
              </a:ext>
            </a:extLst>
          </p:cNvPr>
          <p:cNvCxnSpPr>
            <a:cxnSpLocks/>
          </p:cNvCxnSpPr>
          <p:nvPr userDrawn="1"/>
        </p:nvCxnSpPr>
        <p:spPr>
          <a:xfrm>
            <a:off x="5611132" y="1397749"/>
            <a:ext cx="0" cy="4273731"/>
          </a:xfrm>
          <a:prstGeom prst="line">
            <a:avLst/>
          </a:prstGeom>
          <a:ln>
            <a:solidFill>
              <a:srgbClr val="998A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260C48B1-65C3-4B16-B42A-43212DEC21E0}"/>
              </a:ext>
            </a:extLst>
          </p:cNvPr>
          <p:cNvSpPr txBox="1"/>
          <p:nvPr userDrawn="1"/>
        </p:nvSpPr>
        <p:spPr>
          <a:xfrm>
            <a:off x="371475" y="2719021"/>
            <a:ext cx="725972" cy="654835"/>
          </a:xfrm>
          <a:custGeom>
            <a:avLst/>
            <a:gdLst/>
            <a:ahLst/>
            <a:cxnLst/>
            <a:rect l="l" t="t" r="r" b="b"/>
            <a:pathLst>
              <a:path w="1169132" h="1054568">
                <a:moveTo>
                  <a:pt x="848919" y="0"/>
                </a:moveTo>
                <a:cubicBezTo>
                  <a:pt x="894934" y="0"/>
                  <a:pt x="936681" y="6048"/>
                  <a:pt x="974157" y="18145"/>
                </a:cubicBezTo>
                <a:cubicBezTo>
                  <a:pt x="1011634" y="30242"/>
                  <a:pt x="1043655" y="48032"/>
                  <a:pt x="1070221" y="71514"/>
                </a:cubicBezTo>
                <a:cubicBezTo>
                  <a:pt x="1096787" y="94996"/>
                  <a:pt x="1117305" y="124290"/>
                  <a:pt x="1131773" y="159395"/>
                </a:cubicBezTo>
                <a:cubicBezTo>
                  <a:pt x="1146242" y="194500"/>
                  <a:pt x="1153477" y="234823"/>
                  <a:pt x="1153477" y="280364"/>
                </a:cubicBezTo>
                <a:cubicBezTo>
                  <a:pt x="1153477" y="321636"/>
                  <a:pt x="1148377" y="358757"/>
                  <a:pt x="1138178" y="391727"/>
                </a:cubicBezTo>
                <a:cubicBezTo>
                  <a:pt x="1127978" y="424697"/>
                  <a:pt x="1113509" y="455414"/>
                  <a:pt x="1094771" y="483877"/>
                </a:cubicBezTo>
                <a:cubicBezTo>
                  <a:pt x="1076033" y="512341"/>
                  <a:pt x="1053380" y="539381"/>
                  <a:pt x="1026815" y="564998"/>
                </a:cubicBezTo>
                <a:cubicBezTo>
                  <a:pt x="1000249" y="590615"/>
                  <a:pt x="970599" y="616944"/>
                  <a:pt x="937867" y="643984"/>
                </a:cubicBezTo>
                <a:cubicBezTo>
                  <a:pt x="910352" y="666280"/>
                  <a:pt x="882956" y="687984"/>
                  <a:pt x="855679" y="709094"/>
                </a:cubicBezTo>
                <a:cubicBezTo>
                  <a:pt x="828401" y="730204"/>
                  <a:pt x="803852" y="750840"/>
                  <a:pt x="782030" y="771002"/>
                </a:cubicBezTo>
                <a:cubicBezTo>
                  <a:pt x="760208" y="791163"/>
                  <a:pt x="742537" y="811325"/>
                  <a:pt x="729017" y="831487"/>
                </a:cubicBezTo>
                <a:cubicBezTo>
                  <a:pt x="715496" y="851648"/>
                  <a:pt x="708736" y="871928"/>
                  <a:pt x="708736" y="892327"/>
                </a:cubicBezTo>
                <a:lnTo>
                  <a:pt x="708736" y="895885"/>
                </a:lnTo>
                <a:lnTo>
                  <a:pt x="1169132" y="895885"/>
                </a:lnTo>
                <a:lnTo>
                  <a:pt x="1169132" y="1037490"/>
                </a:lnTo>
                <a:lnTo>
                  <a:pt x="528706" y="1037490"/>
                </a:lnTo>
                <a:lnTo>
                  <a:pt x="528706" y="958504"/>
                </a:lnTo>
                <a:cubicBezTo>
                  <a:pt x="528706" y="926246"/>
                  <a:pt x="533212" y="896004"/>
                  <a:pt x="542226" y="867777"/>
                </a:cubicBezTo>
                <a:cubicBezTo>
                  <a:pt x="551239" y="839551"/>
                  <a:pt x="563336" y="812985"/>
                  <a:pt x="578516" y="788080"/>
                </a:cubicBezTo>
                <a:cubicBezTo>
                  <a:pt x="593697" y="763174"/>
                  <a:pt x="611486" y="739692"/>
                  <a:pt x="631885" y="717633"/>
                </a:cubicBezTo>
                <a:cubicBezTo>
                  <a:pt x="652284" y="695574"/>
                  <a:pt x="674106" y="674226"/>
                  <a:pt x="697351" y="653590"/>
                </a:cubicBezTo>
                <a:cubicBezTo>
                  <a:pt x="720596" y="632954"/>
                  <a:pt x="744316" y="613030"/>
                  <a:pt x="768509" y="593817"/>
                </a:cubicBezTo>
                <a:cubicBezTo>
                  <a:pt x="792703" y="574604"/>
                  <a:pt x="816423" y="555273"/>
                  <a:pt x="839668" y="535823"/>
                </a:cubicBezTo>
                <a:cubicBezTo>
                  <a:pt x="861490" y="517322"/>
                  <a:pt x="881414" y="499176"/>
                  <a:pt x="899441" y="481387"/>
                </a:cubicBezTo>
                <a:cubicBezTo>
                  <a:pt x="917468" y="463597"/>
                  <a:pt x="932886" y="445215"/>
                  <a:pt x="945694" y="426239"/>
                </a:cubicBezTo>
                <a:cubicBezTo>
                  <a:pt x="958503" y="407263"/>
                  <a:pt x="968465" y="387221"/>
                  <a:pt x="975581" y="366110"/>
                </a:cubicBezTo>
                <a:cubicBezTo>
                  <a:pt x="982696" y="345000"/>
                  <a:pt x="986254" y="322111"/>
                  <a:pt x="986254" y="297442"/>
                </a:cubicBezTo>
                <a:cubicBezTo>
                  <a:pt x="986254" y="270402"/>
                  <a:pt x="982103" y="246801"/>
                  <a:pt x="973802" y="226640"/>
                </a:cubicBezTo>
                <a:cubicBezTo>
                  <a:pt x="965500" y="206478"/>
                  <a:pt x="953877" y="189637"/>
                  <a:pt x="938934" y="176117"/>
                </a:cubicBezTo>
                <a:cubicBezTo>
                  <a:pt x="923991" y="162597"/>
                  <a:pt x="906320" y="152398"/>
                  <a:pt x="885921" y="145519"/>
                </a:cubicBezTo>
                <a:cubicBezTo>
                  <a:pt x="865522" y="138640"/>
                  <a:pt x="843226" y="135201"/>
                  <a:pt x="819032" y="135201"/>
                </a:cubicBezTo>
                <a:cubicBezTo>
                  <a:pt x="777286" y="135201"/>
                  <a:pt x="734828" y="144926"/>
                  <a:pt x="691658" y="164376"/>
                </a:cubicBezTo>
                <a:cubicBezTo>
                  <a:pt x="648489" y="183826"/>
                  <a:pt x="606980" y="213001"/>
                  <a:pt x="567131" y="251901"/>
                </a:cubicBezTo>
                <a:lnTo>
                  <a:pt x="567131" y="93217"/>
                </a:lnTo>
                <a:cubicBezTo>
                  <a:pt x="588004" y="77563"/>
                  <a:pt x="609115" y="63924"/>
                  <a:pt x="630462" y="52301"/>
                </a:cubicBezTo>
                <a:cubicBezTo>
                  <a:pt x="651810" y="40679"/>
                  <a:pt x="673869" y="30954"/>
                  <a:pt x="696639" y="23126"/>
                </a:cubicBezTo>
                <a:cubicBezTo>
                  <a:pt x="719410" y="15299"/>
                  <a:pt x="743367" y="9488"/>
                  <a:pt x="768509" y="5693"/>
                </a:cubicBezTo>
                <a:cubicBezTo>
                  <a:pt x="793652" y="1897"/>
                  <a:pt x="820455" y="0"/>
                  <a:pt x="848919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A88ABADA-1305-479D-A5C2-D30C54F56656}"/>
              </a:ext>
            </a:extLst>
          </p:cNvPr>
          <p:cNvSpPr txBox="1"/>
          <p:nvPr userDrawn="1"/>
        </p:nvSpPr>
        <p:spPr>
          <a:xfrm>
            <a:off x="386265" y="4730797"/>
            <a:ext cx="788275" cy="654835"/>
          </a:xfrm>
          <a:custGeom>
            <a:avLst/>
            <a:gdLst/>
            <a:ahLst/>
            <a:cxnLst/>
            <a:rect l="l" t="t" r="r" b="b"/>
            <a:pathLst>
              <a:path w="1269465" h="1054568">
                <a:moveTo>
                  <a:pt x="957791" y="247631"/>
                </a:moveTo>
                <a:cubicBezTo>
                  <a:pt x="906082" y="340612"/>
                  <a:pt x="854967" y="421732"/>
                  <a:pt x="804445" y="490993"/>
                </a:cubicBezTo>
                <a:cubicBezTo>
                  <a:pt x="753922" y="560254"/>
                  <a:pt x="706602" y="621925"/>
                  <a:pt x="662483" y="676005"/>
                </a:cubicBezTo>
                <a:lnTo>
                  <a:pt x="957791" y="676005"/>
                </a:lnTo>
                <a:close/>
                <a:moveTo>
                  <a:pt x="951387" y="17078"/>
                </a:moveTo>
                <a:lnTo>
                  <a:pt x="1117897" y="17078"/>
                </a:lnTo>
                <a:lnTo>
                  <a:pt x="1117897" y="676005"/>
                </a:lnTo>
                <a:lnTo>
                  <a:pt x="1269465" y="676005"/>
                </a:lnTo>
                <a:lnTo>
                  <a:pt x="1269465" y="813341"/>
                </a:lnTo>
                <a:lnTo>
                  <a:pt x="1117897" y="813341"/>
                </a:lnTo>
                <a:lnTo>
                  <a:pt x="1117897" y="1037490"/>
                </a:lnTo>
                <a:lnTo>
                  <a:pt x="957791" y="1037490"/>
                </a:lnTo>
                <a:lnTo>
                  <a:pt x="957791" y="813341"/>
                </a:lnTo>
                <a:lnTo>
                  <a:pt x="495973" y="813341"/>
                </a:lnTo>
                <a:lnTo>
                  <a:pt x="495973" y="674582"/>
                </a:lnTo>
                <a:cubicBezTo>
                  <a:pt x="537719" y="627617"/>
                  <a:pt x="580533" y="576739"/>
                  <a:pt x="624414" y="521947"/>
                </a:cubicBezTo>
                <a:cubicBezTo>
                  <a:pt x="668295" y="467155"/>
                  <a:pt x="710515" y="411177"/>
                  <a:pt x="751076" y="354013"/>
                </a:cubicBezTo>
                <a:cubicBezTo>
                  <a:pt x="791636" y="296849"/>
                  <a:pt x="829231" y="239567"/>
                  <a:pt x="863862" y="182166"/>
                </a:cubicBezTo>
                <a:cubicBezTo>
                  <a:pt x="898492" y="124764"/>
                  <a:pt x="927667" y="69735"/>
                  <a:pt x="951387" y="17078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2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31B18863-4859-4CA3-A050-5214DB042814}"/>
              </a:ext>
            </a:extLst>
          </p:cNvPr>
          <p:cNvSpPr txBox="1"/>
          <p:nvPr userDrawn="1"/>
        </p:nvSpPr>
        <p:spPr>
          <a:xfrm>
            <a:off x="5611133" y="1713748"/>
            <a:ext cx="727739" cy="655717"/>
          </a:xfrm>
          <a:custGeom>
            <a:avLst/>
            <a:gdLst/>
            <a:ahLst/>
            <a:cxnLst/>
            <a:rect l="l" t="t" r="r" b="b"/>
            <a:pathLst>
              <a:path w="1171978" h="1055991">
                <a:moveTo>
                  <a:pt x="623346" y="17078"/>
                </a:moveTo>
                <a:lnTo>
                  <a:pt x="1125725" y="17078"/>
                </a:lnTo>
                <a:lnTo>
                  <a:pt x="1125725" y="157972"/>
                </a:lnTo>
                <a:lnTo>
                  <a:pt x="760682" y="157972"/>
                </a:lnTo>
                <a:lnTo>
                  <a:pt x="743604" y="413431"/>
                </a:lnTo>
                <a:cubicBezTo>
                  <a:pt x="776337" y="411533"/>
                  <a:pt x="805986" y="410584"/>
                  <a:pt x="832552" y="410584"/>
                </a:cubicBezTo>
                <a:cubicBezTo>
                  <a:pt x="940713" y="410584"/>
                  <a:pt x="1024324" y="438336"/>
                  <a:pt x="1083385" y="493840"/>
                </a:cubicBezTo>
                <a:cubicBezTo>
                  <a:pt x="1142447" y="549343"/>
                  <a:pt x="1171978" y="625246"/>
                  <a:pt x="1171978" y="721547"/>
                </a:cubicBezTo>
                <a:cubicBezTo>
                  <a:pt x="1171978" y="822592"/>
                  <a:pt x="1138177" y="903594"/>
                  <a:pt x="1070577" y="964553"/>
                </a:cubicBezTo>
                <a:cubicBezTo>
                  <a:pt x="1002977" y="1025512"/>
                  <a:pt x="910115" y="1055991"/>
                  <a:pt x="791992" y="1055991"/>
                </a:cubicBezTo>
                <a:cubicBezTo>
                  <a:pt x="692370" y="1055991"/>
                  <a:pt x="618128" y="1041997"/>
                  <a:pt x="569266" y="1014008"/>
                </a:cubicBezTo>
                <a:lnTo>
                  <a:pt x="569266" y="855325"/>
                </a:lnTo>
                <a:cubicBezTo>
                  <a:pt x="636155" y="900392"/>
                  <a:pt x="703992" y="922925"/>
                  <a:pt x="772779" y="922925"/>
                </a:cubicBezTo>
                <a:cubicBezTo>
                  <a:pt x="842040" y="922925"/>
                  <a:pt x="897781" y="905254"/>
                  <a:pt x="940001" y="869912"/>
                </a:cubicBezTo>
                <a:cubicBezTo>
                  <a:pt x="982222" y="834570"/>
                  <a:pt x="1003332" y="787487"/>
                  <a:pt x="1003332" y="728663"/>
                </a:cubicBezTo>
                <a:cubicBezTo>
                  <a:pt x="1003332" y="670787"/>
                  <a:pt x="981866" y="625720"/>
                  <a:pt x="938934" y="593462"/>
                </a:cubicBezTo>
                <a:cubicBezTo>
                  <a:pt x="896002" y="561203"/>
                  <a:pt x="834450" y="545074"/>
                  <a:pt x="754278" y="545074"/>
                </a:cubicBezTo>
                <a:cubicBezTo>
                  <a:pt x="726763" y="545074"/>
                  <a:pt x="671022" y="547920"/>
                  <a:pt x="587055" y="553613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8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1203FC19-B35B-4124-AE77-59CABC8F8C0D}"/>
              </a:ext>
            </a:extLst>
          </p:cNvPr>
          <p:cNvSpPr txBox="1"/>
          <p:nvPr userDrawn="1"/>
        </p:nvSpPr>
        <p:spPr>
          <a:xfrm>
            <a:off x="5613469" y="2718803"/>
            <a:ext cx="755577" cy="655276"/>
          </a:xfrm>
          <a:custGeom>
            <a:avLst/>
            <a:gdLst/>
            <a:ahLst/>
            <a:cxnLst/>
            <a:rect l="l" t="t" r="r" b="b"/>
            <a:pathLst>
              <a:path w="1216808" h="1055280">
                <a:moveTo>
                  <a:pt x="881651" y="525861"/>
                </a:moveTo>
                <a:cubicBezTo>
                  <a:pt x="853188" y="525861"/>
                  <a:pt x="828164" y="530961"/>
                  <a:pt x="806579" y="541160"/>
                </a:cubicBezTo>
                <a:cubicBezTo>
                  <a:pt x="784995" y="551359"/>
                  <a:pt x="766849" y="564761"/>
                  <a:pt x="752143" y="581365"/>
                </a:cubicBezTo>
                <a:cubicBezTo>
                  <a:pt x="737437" y="597968"/>
                  <a:pt x="726407" y="616944"/>
                  <a:pt x="719054" y="638291"/>
                </a:cubicBezTo>
                <a:cubicBezTo>
                  <a:pt x="711701" y="659639"/>
                  <a:pt x="708025" y="681461"/>
                  <a:pt x="708025" y="703757"/>
                </a:cubicBezTo>
                <a:cubicBezTo>
                  <a:pt x="708025" y="727951"/>
                  <a:pt x="711464" y="752738"/>
                  <a:pt x="718343" y="778118"/>
                </a:cubicBezTo>
                <a:cubicBezTo>
                  <a:pt x="725221" y="803498"/>
                  <a:pt x="735777" y="826624"/>
                  <a:pt x="750008" y="847497"/>
                </a:cubicBezTo>
                <a:cubicBezTo>
                  <a:pt x="764240" y="868370"/>
                  <a:pt x="782385" y="885567"/>
                  <a:pt x="804445" y="899087"/>
                </a:cubicBezTo>
                <a:cubicBezTo>
                  <a:pt x="826504" y="912607"/>
                  <a:pt x="852714" y="919367"/>
                  <a:pt x="883075" y="919367"/>
                </a:cubicBezTo>
                <a:cubicBezTo>
                  <a:pt x="910115" y="919367"/>
                  <a:pt x="934071" y="914386"/>
                  <a:pt x="954945" y="904424"/>
                </a:cubicBezTo>
                <a:cubicBezTo>
                  <a:pt x="975818" y="894462"/>
                  <a:pt x="993252" y="880704"/>
                  <a:pt x="1007246" y="863152"/>
                </a:cubicBezTo>
                <a:cubicBezTo>
                  <a:pt x="1021241" y="845600"/>
                  <a:pt x="1031914" y="824845"/>
                  <a:pt x="1039267" y="800888"/>
                </a:cubicBezTo>
                <a:cubicBezTo>
                  <a:pt x="1046620" y="776932"/>
                  <a:pt x="1050297" y="750959"/>
                  <a:pt x="1050297" y="722970"/>
                </a:cubicBezTo>
                <a:cubicBezTo>
                  <a:pt x="1050297" y="693558"/>
                  <a:pt x="1046858" y="666755"/>
                  <a:pt x="1039979" y="642561"/>
                </a:cubicBezTo>
                <a:cubicBezTo>
                  <a:pt x="1033100" y="618367"/>
                  <a:pt x="1022664" y="597612"/>
                  <a:pt x="1008669" y="580297"/>
                </a:cubicBezTo>
                <a:cubicBezTo>
                  <a:pt x="994675" y="562982"/>
                  <a:pt x="977122" y="549580"/>
                  <a:pt x="956012" y="540093"/>
                </a:cubicBezTo>
                <a:cubicBezTo>
                  <a:pt x="934902" y="530605"/>
                  <a:pt x="910115" y="525861"/>
                  <a:pt x="881651" y="525861"/>
                </a:cubicBezTo>
                <a:close/>
                <a:moveTo>
                  <a:pt x="969176" y="0"/>
                </a:moveTo>
                <a:cubicBezTo>
                  <a:pt x="1007602" y="0"/>
                  <a:pt x="1042588" y="2609"/>
                  <a:pt x="1074135" y="7827"/>
                </a:cubicBezTo>
                <a:cubicBezTo>
                  <a:pt x="1105682" y="13046"/>
                  <a:pt x="1130943" y="20162"/>
                  <a:pt x="1149919" y="29175"/>
                </a:cubicBezTo>
                <a:lnTo>
                  <a:pt x="1149919" y="177896"/>
                </a:lnTo>
                <a:cubicBezTo>
                  <a:pt x="1125725" y="165562"/>
                  <a:pt x="1099871" y="155125"/>
                  <a:pt x="1072356" y="146586"/>
                </a:cubicBezTo>
                <a:cubicBezTo>
                  <a:pt x="1044841" y="138047"/>
                  <a:pt x="1013295" y="133778"/>
                  <a:pt x="977715" y="133778"/>
                </a:cubicBezTo>
                <a:cubicBezTo>
                  <a:pt x="937867" y="133778"/>
                  <a:pt x="901101" y="141843"/>
                  <a:pt x="867420" y="157972"/>
                </a:cubicBezTo>
                <a:cubicBezTo>
                  <a:pt x="833738" y="174101"/>
                  <a:pt x="804682" y="197702"/>
                  <a:pt x="780251" y="228774"/>
                </a:cubicBezTo>
                <a:cubicBezTo>
                  <a:pt x="755819" y="259847"/>
                  <a:pt x="736607" y="298273"/>
                  <a:pt x="722612" y="344051"/>
                </a:cubicBezTo>
                <a:cubicBezTo>
                  <a:pt x="708618" y="389830"/>
                  <a:pt x="701383" y="442606"/>
                  <a:pt x="700909" y="502379"/>
                </a:cubicBezTo>
                <a:lnTo>
                  <a:pt x="705178" y="502379"/>
                </a:lnTo>
                <a:cubicBezTo>
                  <a:pt x="727000" y="468697"/>
                  <a:pt x="756531" y="442131"/>
                  <a:pt x="793771" y="422681"/>
                </a:cubicBezTo>
                <a:cubicBezTo>
                  <a:pt x="831010" y="403231"/>
                  <a:pt x="874773" y="393506"/>
                  <a:pt x="925058" y="393506"/>
                </a:cubicBezTo>
                <a:cubicBezTo>
                  <a:pt x="969651" y="393506"/>
                  <a:pt x="1009855" y="400741"/>
                  <a:pt x="1045672" y="415210"/>
                </a:cubicBezTo>
                <a:cubicBezTo>
                  <a:pt x="1081488" y="429679"/>
                  <a:pt x="1112086" y="450552"/>
                  <a:pt x="1137466" y="477829"/>
                </a:cubicBezTo>
                <a:cubicBezTo>
                  <a:pt x="1162846" y="505106"/>
                  <a:pt x="1182415" y="538314"/>
                  <a:pt x="1196172" y="577451"/>
                </a:cubicBezTo>
                <a:cubicBezTo>
                  <a:pt x="1209929" y="616588"/>
                  <a:pt x="1216808" y="660588"/>
                  <a:pt x="1216808" y="709450"/>
                </a:cubicBezTo>
                <a:cubicBezTo>
                  <a:pt x="1216808" y="760684"/>
                  <a:pt x="1208387" y="807411"/>
                  <a:pt x="1191546" y="849632"/>
                </a:cubicBezTo>
                <a:cubicBezTo>
                  <a:pt x="1174706" y="891853"/>
                  <a:pt x="1151342" y="928262"/>
                  <a:pt x="1121455" y="958860"/>
                </a:cubicBezTo>
                <a:cubicBezTo>
                  <a:pt x="1091569" y="989458"/>
                  <a:pt x="1056108" y="1013178"/>
                  <a:pt x="1015074" y="1030019"/>
                </a:cubicBezTo>
                <a:cubicBezTo>
                  <a:pt x="974039" y="1046859"/>
                  <a:pt x="929565" y="1055280"/>
                  <a:pt x="881651" y="1055280"/>
                </a:cubicBezTo>
                <a:cubicBezTo>
                  <a:pt x="830417" y="1055280"/>
                  <a:pt x="783334" y="1045318"/>
                  <a:pt x="740402" y="1025393"/>
                </a:cubicBezTo>
                <a:cubicBezTo>
                  <a:pt x="697470" y="1005469"/>
                  <a:pt x="660467" y="975820"/>
                  <a:pt x="629395" y="936445"/>
                </a:cubicBezTo>
                <a:cubicBezTo>
                  <a:pt x="598322" y="897071"/>
                  <a:pt x="574247" y="848090"/>
                  <a:pt x="557169" y="789503"/>
                </a:cubicBezTo>
                <a:cubicBezTo>
                  <a:pt x="540091" y="730916"/>
                  <a:pt x="531552" y="662960"/>
                  <a:pt x="531552" y="585634"/>
                </a:cubicBezTo>
                <a:cubicBezTo>
                  <a:pt x="531552" y="491231"/>
                  <a:pt x="542819" y="407501"/>
                  <a:pt x="565352" y="334445"/>
                </a:cubicBezTo>
                <a:cubicBezTo>
                  <a:pt x="587886" y="261389"/>
                  <a:pt x="618839" y="200193"/>
                  <a:pt x="658214" y="150856"/>
                </a:cubicBezTo>
                <a:cubicBezTo>
                  <a:pt x="697588" y="101519"/>
                  <a:pt x="743841" y="64043"/>
                  <a:pt x="796973" y="38426"/>
                </a:cubicBezTo>
                <a:cubicBezTo>
                  <a:pt x="850105" y="12809"/>
                  <a:pt x="907506" y="0"/>
                  <a:pt x="969176" y="0"/>
                </a:cubicBezTo>
                <a:close/>
                <a:moveTo>
                  <a:pt x="67045" y="0"/>
                </a:moveTo>
                <a:cubicBezTo>
                  <a:pt x="291432" y="0"/>
                  <a:pt x="403625" y="174338"/>
                  <a:pt x="403625" y="523015"/>
                </a:cubicBezTo>
                <a:cubicBezTo>
                  <a:pt x="403625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79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xmlns="" id="{26D06E6C-8332-4449-8247-2C876400B9D7}"/>
              </a:ext>
            </a:extLst>
          </p:cNvPr>
          <p:cNvSpPr txBox="1"/>
          <p:nvPr userDrawn="1"/>
        </p:nvSpPr>
        <p:spPr>
          <a:xfrm>
            <a:off x="375011" y="3733637"/>
            <a:ext cx="722437" cy="654835"/>
          </a:xfrm>
          <a:custGeom>
            <a:avLst/>
            <a:gdLst/>
            <a:ahLst/>
            <a:cxnLst/>
            <a:rect l="l" t="t" r="r" b="b"/>
            <a:pathLst>
              <a:path w="1163439" h="1054568">
                <a:moveTo>
                  <a:pt x="830417" y="0"/>
                </a:moveTo>
                <a:cubicBezTo>
                  <a:pt x="921026" y="0"/>
                  <a:pt x="993607" y="22771"/>
                  <a:pt x="1048162" y="68312"/>
                </a:cubicBezTo>
                <a:cubicBezTo>
                  <a:pt x="1102717" y="113854"/>
                  <a:pt x="1129994" y="172203"/>
                  <a:pt x="1129994" y="243362"/>
                </a:cubicBezTo>
                <a:cubicBezTo>
                  <a:pt x="1129994" y="377614"/>
                  <a:pt x="1061682" y="463953"/>
                  <a:pt x="925058" y="502379"/>
                </a:cubicBezTo>
                <a:lnTo>
                  <a:pt x="925058" y="505225"/>
                </a:lnTo>
                <a:cubicBezTo>
                  <a:pt x="998588" y="512341"/>
                  <a:pt x="1056701" y="538077"/>
                  <a:pt x="1099396" y="582432"/>
                </a:cubicBezTo>
                <a:cubicBezTo>
                  <a:pt x="1142091" y="626787"/>
                  <a:pt x="1163439" y="682172"/>
                  <a:pt x="1163439" y="748587"/>
                </a:cubicBezTo>
                <a:cubicBezTo>
                  <a:pt x="1163439" y="840144"/>
                  <a:pt x="1129046" y="914030"/>
                  <a:pt x="1060259" y="970245"/>
                </a:cubicBezTo>
                <a:cubicBezTo>
                  <a:pt x="991472" y="1026461"/>
                  <a:pt x="900864" y="1054568"/>
                  <a:pt x="788434" y="1054568"/>
                </a:cubicBezTo>
                <a:cubicBezTo>
                  <a:pt x="687389" y="1054568"/>
                  <a:pt x="606742" y="1036304"/>
                  <a:pt x="546495" y="999776"/>
                </a:cubicBezTo>
                <a:lnTo>
                  <a:pt x="546495" y="844651"/>
                </a:lnTo>
                <a:cubicBezTo>
                  <a:pt x="612909" y="897308"/>
                  <a:pt x="687863" y="923637"/>
                  <a:pt x="771356" y="923637"/>
                </a:cubicBezTo>
                <a:cubicBezTo>
                  <a:pt x="839193" y="923637"/>
                  <a:pt x="893392" y="908219"/>
                  <a:pt x="933953" y="877384"/>
                </a:cubicBezTo>
                <a:cubicBezTo>
                  <a:pt x="974513" y="846548"/>
                  <a:pt x="994793" y="804802"/>
                  <a:pt x="994793" y="752145"/>
                </a:cubicBezTo>
                <a:cubicBezTo>
                  <a:pt x="994793" y="636394"/>
                  <a:pt x="906320" y="578518"/>
                  <a:pt x="729372" y="578518"/>
                </a:cubicBezTo>
                <a:lnTo>
                  <a:pt x="650386" y="578518"/>
                </a:lnTo>
                <a:lnTo>
                  <a:pt x="650386" y="446164"/>
                </a:lnTo>
                <a:lnTo>
                  <a:pt x="725814" y="446164"/>
                </a:lnTo>
                <a:cubicBezTo>
                  <a:pt x="882837" y="446164"/>
                  <a:pt x="961349" y="391609"/>
                  <a:pt x="961349" y="282499"/>
                </a:cubicBezTo>
                <a:cubicBezTo>
                  <a:pt x="961349" y="181928"/>
                  <a:pt x="900152" y="131643"/>
                  <a:pt x="777760" y="131643"/>
                </a:cubicBezTo>
                <a:cubicBezTo>
                  <a:pt x="709448" y="131643"/>
                  <a:pt x="645168" y="156074"/>
                  <a:pt x="584920" y="204936"/>
                </a:cubicBezTo>
                <a:lnTo>
                  <a:pt x="584920" y="58350"/>
                </a:lnTo>
                <a:cubicBezTo>
                  <a:pt x="654181" y="19450"/>
                  <a:pt x="736014" y="0"/>
                  <a:pt x="830417" y="0"/>
                </a:cubicBezTo>
                <a:close/>
                <a:moveTo>
                  <a:pt x="67045" y="0"/>
                </a:moveTo>
                <a:cubicBezTo>
                  <a:pt x="291431" y="0"/>
                  <a:pt x="403624" y="174338"/>
                  <a:pt x="403624" y="523015"/>
                </a:cubicBezTo>
                <a:cubicBezTo>
                  <a:pt x="403624" y="695692"/>
                  <a:pt x="371959" y="827454"/>
                  <a:pt x="308628" y="918300"/>
                </a:cubicBezTo>
                <a:cubicBezTo>
                  <a:pt x="245297" y="1009145"/>
                  <a:pt x="156705" y="1054568"/>
                  <a:pt x="42851" y="1054568"/>
                </a:cubicBezTo>
                <a:lnTo>
                  <a:pt x="0" y="1049938"/>
                </a:lnTo>
                <a:lnTo>
                  <a:pt x="0" y="911367"/>
                </a:lnTo>
                <a:lnTo>
                  <a:pt x="12965" y="917655"/>
                </a:lnTo>
                <a:cubicBezTo>
                  <a:pt x="26248" y="921643"/>
                  <a:pt x="40480" y="923637"/>
                  <a:pt x="55660" y="923637"/>
                </a:cubicBezTo>
                <a:cubicBezTo>
                  <a:pt x="175206" y="923637"/>
                  <a:pt x="234979" y="793891"/>
                  <a:pt x="234979" y="534400"/>
                </a:cubicBezTo>
                <a:cubicBezTo>
                  <a:pt x="234979" y="265895"/>
                  <a:pt x="176392" y="131643"/>
                  <a:pt x="59218" y="131643"/>
                </a:cubicBezTo>
                <a:cubicBezTo>
                  <a:pt x="43741" y="131643"/>
                  <a:pt x="29231" y="133774"/>
                  <a:pt x="15689" y="138036"/>
                </a:cubicBezTo>
                <a:lnTo>
                  <a:pt x="0" y="146013"/>
                </a:lnTo>
                <a:lnTo>
                  <a:pt x="0" y="702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xmlns="" id="{F84FDD0E-DC00-4821-A61A-EE7BDD0E99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79994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xmlns="" id="{875349BB-84BF-43A6-99C6-16FCAC1757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79994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xmlns="" id="{46E5804D-D68E-40FE-9655-985C511111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9994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xmlns="" id="{E3076EE2-806F-4141-BF8A-5E86821DBA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6566" y="184237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xmlns="" id="{987E79E6-63E4-4024-B90D-C13A3D13F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86566" y="2847211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xmlns="" id="{1D474365-C186-4FBF-9A15-D3F107F650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86566" y="386182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01D87B89-68C8-4932-8341-3C20BC8D2D7E}"/>
              </a:ext>
            </a:extLst>
          </p:cNvPr>
          <p:cNvSpPr txBox="1"/>
          <p:nvPr userDrawn="1"/>
        </p:nvSpPr>
        <p:spPr>
          <a:xfrm>
            <a:off x="371475" y="1712420"/>
            <a:ext cx="556740" cy="658368"/>
          </a:xfrm>
          <a:custGeom>
            <a:avLst/>
            <a:gdLst/>
            <a:ahLst/>
            <a:cxnLst/>
            <a:rect l="l" t="t" r="r" b="b"/>
            <a:pathLst>
              <a:path w="896595" h="1060261">
                <a:moveTo>
                  <a:pt x="67045" y="5693"/>
                </a:moveTo>
                <a:cubicBezTo>
                  <a:pt x="291431" y="5693"/>
                  <a:pt x="403625" y="180031"/>
                  <a:pt x="403625" y="528708"/>
                </a:cubicBezTo>
                <a:cubicBezTo>
                  <a:pt x="403625" y="701385"/>
                  <a:pt x="371959" y="833147"/>
                  <a:pt x="308628" y="923993"/>
                </a:cubicBezTo>
                <a:cubicBezTo>
                  <a:pt x="245297" y="1014838"/>
                  <a:pt x="156705" y="1060261"/>
                  <a:pt x="42851" y="1060261"/>
                </a:cubicBezTo>
                <a:lnTo>
                  <a:pt x="0" y="1055631"/>
                </a:lnTo>
                <a:lnTo>
                  <a:pt x="0" y="917060"/>
                </a:lnTo>
                <a:lnTo>
                  <a:pt x="12965" y="923348"/>
                </a:lnTo>
                <a:cubicBezTo>
                  <a:pt x="26248" y="927336"/>
                  <a:pt x="40479" y="929330"/>
                  <a:pt x="55660" y="929330"/>
                </a:cubicBezTo>
                <a:cubicBezTo>
                  <a:pt x="175206" y="929330"/>
                  <a:pt x="234979" y="799584"/>
                  <a:pt x="234979" y="540093"/>
                </a:cubicBezTo>
                <a:cubicBezTo>
                  <a:pt x="234979" y="271588"/>
                  <a:pt x="176392" y="137336"/>
                  <a:pt x="59218" y="137336"/>
                </a:cubicBezTo>
                <a:cubicBezTo>
                  <a:pt x="43741" y="137336"/>
                  <a:pt x="29231" y="139467"/>
                  <a:pt x="15689" y="143729"/>
                </a:cubicBezTo>
                <a:lnTo>
                  <a:pt x="0" y="151705"/>
                </a:lnTo>
                <a:lnTo>
                  <a:pt x="0" y="12722"/>
                </a:lnTo>
                <a:close/>
                <a:moveTo>
                  <a:pt x="826859" y="0"/>
                </a:moveTo>
                <a:lnTo>
                  <a:pt x="896595" y="0"/>
                </a:lnTo>
                <a:lnTo>
                  <a:pt x="896595" y="1043183"/>
                </a:lnTo>
                <a:lnTo>
                  <a:pt x="731507" y="1043183"/>
                </a:lnTo>
                <a:lnTo>
                  <a:pt x="731507" y="202090"/>
                </a:lnTo>
                <a:cubicBezTo>
                  <a:pt x="701621" y="223438"/>
                  <a:pt x="669481" y="241583"/>
                  <a:pt x="635087" y="256526"/>
                </a:cubicBezTo>
                <a:cubicBezTo>
                  <a:pt x="600694" y="271470"/>
                  <a:pt x="561438" y="284634"/>
                  <a:pt x="517320" y="296019"/>
                </a:cubicBezTo>
                <a:lnTo>
                  <a:pt x="517320" y="155126"/>
                </a:lnTo>
                <a:cubicBezTo>
                  <a:pt x="544835" y="146112"/>
                  <a:pt x="571401" y="136624"/>
                  <a:pt x="597018" y="126662"/>
                </a:cubicBezTo>
                <a:cubicBezTo>
                  <a:pt x="622635" y="116700"/>
                  <a:pt x="647896" y="105552"/>
                  <a:pt x="672801" y="93218"/>
                </a:cubicBezTo>
                <a:cubicBezTo>
                  <a:pt x="697707" y="80884"/>
                  <a:pt x="722849" y="67126"/>
                  <a:pt x="748229" y="51946"/>
                </a:cubicBezTo>
                <a:cubicBezTo>
                  <a:pt x="773609" y="36765"/>
                  <a:pt x="799819" y="19450"/>
                  <a:pt x="82685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11500" dirty="0">
              <a:solidFill>
                <a:srgbClr val="8F7332"/>
              </a:solidFill>
              <a:cs typeface="Segoe UI" panose="020B0502040204020203" pitchFamily="34" charset="0"/>
            </a:endParaRPr>
          </a:p>
        </p:txBody>
      </p:sp>
      <p:sp>
        <p:nvSpPr>
          <p:cNvPr id="26" name="Espace réservé du numéro de diapositive 5">
            <a:extLst>
              <a:ext uri="{FF2B5EF4-FFF2-40B4-BE49-F238E27FC236}">
                <a16:creationId xmlns:a16="http://schemas.microsoft.com/office/drawing/2014/main" xmlns="" id="{580A4B3B-F32E-4FBF-91B4-24792DB7C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7" name="Espace réservé de la date 3">
            <a:extLst>
              <a:ext uri="{FF2B5EF4-FFF2-40B4-BE49-F238E27FC236}">
                <a16:creationId xmlns:a16="http://schemas.microsoft.com/office/drawing/2014/main" xmlns="" id="{925E6E4A-B4FF-44C0-BB48-72B516D5EA5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AFFE62F-A100-4B56-8494-B782AFA8E02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D5AF189F-1592-4DA2-B4D2-278328349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xmlns="" id="{299D2DAA-35F3-4747-8EAC-3F27DA8193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79994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xmlns="" id="{BA68D562-F1C6-47A1-9649-4724F4D5E4C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566" y="4858985"/>
            <a:ext cx="3222625" cy="39846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artie 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89A7AE8B-386F-4CFF-927D-3411D2C0DA58}"/>
              </a:ext>
            </a:extLst>
          </p:cNvPr>
          <p:cNvSpPr txBox="1"/>
          <p:nvPr userDrawn="1"/>
        </p:nvSpPr>
        <p:spPr>
          <a:xfrm>
            <a:off x="5608800" y="3730209"/>
            <a:ext cx="756045" cy="661691"/>
          </a:xfrm>
          <a:custGeom>
            <a:avLst/>
            <a:gdLst/>
            <a:ahLst/>
            <a:cxnLst/>
            <a:rect l="l" t="t" r="r" b="b"/>
            <a:pathLst>
              <a:path w="756045" h="661690">
                <a:moveTo>
                  <a:pt x="328313" y="10716"/>
                </a:moveTo>
                <a:lnTo>
                  <a:pt x="756045" y="10716"/>
                </a:lnTo>
                <a:lnTo>
                  <a:pt x="756045" y="62508"/>
                </a:lnTo>
                <a:cubicBezTo>
                  <a:pt x="729256" y="111621"/>
                  <a:pt x="703955" y="160213"/>
                  <a:pt x="680143" y="208285"/>
                </a:cubicBezTo>
                <a:cubicBezTo>
                  <a:pt x="656330" y="256356"/>
                  <a:pt x="634750" y="304651"/>
                  <a:pt x="615402" y="353169"/>
                </a:cubicBezTo>
                <a:cubicBezTo>
                  <a:pt x="596055" y="401687"/>
                  <a:pt x="579237" y="450577"/>
                  <a:pt x="564950" y="499839"/>
                </a:cubicBezTo>
                <a:cubicBezTo>
                  <a:pt x="550662" y="549101"/>
                  <a:pt x="539649" y="599480"/>
                  <a:pt x="531910" y="650974"/>
                </a:cubicBezTo>
                <a:lnTo>
                  <a:pt x="423414" y="650974"/>
                </a:lnTo>
                <a:cubicBezTo>
                  <a:pt x="430558" y="605135"/>
                  <a:pt x="440753" y="559371"/>
                  <a:pt x="453998" y="513680"/>
                </a:cubicBezTo>
                <a:cubicBezTo>
                  <a:pt x="467244" y="467990"/>
                  <a:pt x="482797" y="422300"/>
                  <a:pt x="500656" y="376610"/>
                </a:cubicBezTo>
                <a:cubicBezTo>
                  <a:pt x="518515" y="330919"/>
                  <a:pt x="538533" y="285006"/>
                  <a:pt x="560708" y="238869"/>
                </a:cubicBezTo>
                <a:cubicBezTo>
                  <a:pt x="582883" y="192732"/>
                  <a:pt x="606473" y="146149"/>
                  <a:pt x="631476" y="99120"/>
                </a:cubicBezTo>
                <a:lnTo>
                  <a:pt x="328313" y="99120"/>
                </a:ln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10088E53-F181-4EED-BB1A-525FB279D586}"/>
              </a:ext>
            </a:extLst>
          </p:cNvPr>
          <p:cNvSpPr txBox="1"/>
          <p:nvPr userDrawn="1"/>
        </p:nvSpPr>
        <p:spPr>
          <a:xfrm>
            <a:off x="5611132" y="4727369"/>
            <a:ext cx="764528" cy="661691"/>
          </a:xfrm>
          <a:custGeom>
            <a:avLst/>
            <a:gdLst/>
            <a:ahLst/>
            <a:cxnLst/>
            <a:rect l="l" t="t" r="r" b="b"/>
            <a:pathLst>
              <a:path w="764528" h="661690">
                <a:moveTo>
                  <a:pt x="551109" y="344686"/>
                </a:moveTo>
                <a:cubicBezTo>
                  <a:pt x="535035" y="344686"/>
                  <a:pt x="520078" y="347588"/>
                  <a:pt x="506237" y="353392"/>
                </a:cubicBezTo>
                <a:cubicBezTo>
                  <a:pt x="492396" y="359197"/>
                  <a:pt x="480490" y="367382"/>
                  <a:pt x="470518" y="377949"/>
                </a:cubicBezTo>
                <a:cubicBezTo>
                  <a:pt x="460547" y="388516"/>
                  <a:pt x="452733" y="401092"/>
                  <a:pt x="447078" y="415677"/>
                </a:cubicBezTo>
                <a:cubicBezTo>
                  <a:pt x="441422" y="430262"/>
                  <a:pt x="438595" y="446187"/>
                  <a:pt x="438595" y="463451"/>
                </a:cubicBezTo>
                <a:cubicBezTo>
                  <a:pt x="438595" y="481608"/>
                  <a:pt x="441273" y="497979"/>
                  <a:pt x="446631" y="512564"/>
                </a:cubicBezTo>
                <a:cubicBezTo>
                  <a:pt x="451989" y="527149"/>
                  <a:pt x="459579" y="539502"/>
                  <a:pt x="469402" y="549622"/>
                </a:cubicBezTo>
                <a:cubicBezTo>
                  <a:pt x="479225" y="559743"/>
                  <a:pt x="491056" y="567482"/>
                  <a:pt x="504897" y="572839"/>
                </a:cubicBezTo>
                <a:cubicBezTo>
                  <a:pt x="518739" y="578197"/>
                  <a:pt x="534142" y="580876"/>
                  <a:pt x="551109" y="580876"/>
                </a:cubicBezTo>
                <a:cubicBezTo>
                  <a:pt x="567480" y="580876"/>
                  <a:pt x="582511" y="578123"/>
                  <a:pt x="596204" y="572616"/>
                </a:cubicBezTo>
                <a:cubicBezTo>
                  <a:pt x="609896" y="567110"/>
                  <a:pt x="621728" y="559222"/>
                  <a:pt x="631699" y="548953"/>
                </a:cubicBezTo>
                <a:cubicBezTo>
                  <a:pt x="641671" y="538683"/>
                  <a:pt x="649484" y="526331"/>
                  <a:pt x="655139" y="511894"/>
                </a:cubicBezTo>
                <a:cubicBezTo>
                  <a:pt x="660795" y="497458"/>
                  <a:pt x="663623" y="481310"/>
                  <a:pt x="663623" y="463451"/>
                </a:cubicBezTo>
                <a:cubicBezTo>
                  <a:pt x="663623" y="447080"/>
                  <a:pt x="660944" y="431676"/>
                  <a:pt x="655586" y="417240"/>
                </a:cubicBezTo>
                <a:cubicBezTo>
                  <a:pt x="650228" y="402803"/>
                  <a:pt x="642638" y="390227"/>
                  <a:pt x="632815" y="379512"/>
                </a:cubicBezTo>
                <a:cubicBezTo>
                  <a:pt x="622993" y="368796"/>
                  <a:pt x="611161" y="360313"/>
                  <a:pt x="597320" y="354062"/>
                </a:cubicBezTo>
                <a:cubicBezTo>
                  <a:pt x="583479" y="347811"/>
                  <a:pt x="568075" y="344686"/>
                  <a:pt x="551109" y="344686"/>
                </a:cubicBezTo>
                <a:close/>
                <a:moveTo>
                  <a:pt x="550216" y="79921"/>
                </a:moveTo>
                <a:cubicBezTo>
                  <a:pt x="536821" y="79921"/>
                  <a:pt x="524617" y="82376"/>
                  <a:pt x="513604" y="87288"/>
                </a:cubicBezTo>
                <a:cubicBezTo>
                  <a:pt x="502591" y="92199"/>
                  <a:pt x="493140" y="98971"/>
                  <a:pt x="485252" y="107603"/>
                </a:cubicBezTo>
                <a:cubicBezTo>
                  <a:pt x="477364" y="116235"/>
                  <a:pt x="471262" y="126281"/>
                  <a:pt x="466946" y="137740"/>
                </a:cubicBezTo>
                <a:cubicBezTo>
                  <a:pt x="462630" y="149200"/>
                  <a:pt x="460472" y="161330"/>
                  <a:pt x="460472" y="174129"/>
                </a:cubicBezTo>
                <a:cubicBezTo>
                  <a:pt x="460472" y="187523"/>
                  <a:pt x="462854" y="199951"/>
                  <a:pt x="467616" y="211410"/>
                </a:cubicBezTo>
                <a:cubicBezTo>
                  <a:pt x="472379" y="222870"/>
                  <a:pt x="478778" y="232842"/>
                  <a:pt x="486815" y="241325"/>
                </a:cubicBezTo>
                <a:cubicBezTo>
                  <a:pt x="494852" y="249808"/>
                  <a:pt x="504302" y="256431"/>
                  <a:pt x="515167" y="261193"/>
                </a:cubicBezTo>
                <a:cubicBezTo>
                  <a:pt x="526031" y="265956"/>
                  <a:pt x="537714" y="268337"/>
                  <a:pt x="550216" y="268337"/>
                </a:cubicBezTo>
                <a:cubicBezTo>
                  <a:pt x="562717" y="268337"/>
                  <a:pt x="574400" y="265881"/>
                  <a:pt x="585265" y="260970"/>
                </a:cubicBezTo>
                <a:cubicBezTo>
                  <a:pt x="596129" y="256059"/>
                  <a:pt x="605654" y="249362"/>
                  <a:pt x="613840" y="240878"/>
                </a:cubicBezTo>
                <a:cubicBezTo>
                  <a:pt x="622025" y="232395"/>
                  <a:pt x="628499" y="222424"/>
                  <a:pt x="633262" y="210964"/>
                </a:cubicBezTo>
                <a:cubicBezTo>
                  <a:pt x="638024" y="199504"/>
                  <a:pt x="640406" y="187226"/>
                  <a:pt x="640406" y="174129"/>
                </a:cubicBezTo>
                <a:cubicBezTo>
                  <a:pt x="640406" y="160734"/>
                  <a:pt x="638099" y="148233"/>
                  <a:pt x="633485" y="136624"/>
                </a:cubicBezTo>
                <a:cubicBezTo>
                  <a:pt x="628871" y="125016"/>
                  <a:pt x="622546" y="115044"/>
                  <a:pt x="614509" y="106710"/>
                </a:cubicBezTo>
                <a:cubicBezTo>
                  <a:pt x="606473" y="98375"/>
                  <a:pt x="596948" y="91827"/>
                  <a:pt x="585934" y="87064"/>
                </a:cubicBezTo>
                <a:cubicBezTo>
                  <a:pt x="574921" y="82302"/>
                  <a:pt x="563015" y="79921"/>
                  <a:pt x="550216" y="79921"/>
                </a:cubicBezTo>
                <a:close/>
                <a:moveTo>
                  <a:pt x="549769" y="0"/>
                </a:moveTo>
                <a:cubicBezTo>
                  <a:pt x="577451" y="0"/>
                  <a:pt x="602975" y="4167"/>
                  <a:pt x="626341" y="12502"/>
                </a:cubicBezTo>
                <a:cubicBezTo>
                  <a:pt x="649707" y="20836"/>
                  <a:pt x="669948" y="32296"/>
                  <a:pt x="687063" y="46881"/>
                </a:cubicBezTo>
                <a:cubicBezTo>
                  <a:pt x="704178" y="61466"/>
                  <a:pt x="717499" y="78730"/>
                  <a:pt x="727024" y="98673"/>
                </a:cubicBezTo>
                <a:cubicBezTo>
                  <a:pt x="736549" y="118616"/>
                  <a:pt x="741311" y="140196"/>
                  <a:pt x="741311" y="163413"/>
                </a:cubicBezTo>
                <a:cubicBezTo>
                  <a:pt x="741311" y="192881"/>
                  <a:pt x="733125" y="219745"/>
                  <a:pt x="716754" y="244004"/>
                </a:cubicBezTo>
                <a:cubicBezTo>
                  <a:pt x="700383" y="268263"/>
                  <a:pt x="678654" y="288131"/>
                  <a:pt x="651568" y="303609"/>
                </a:cubicBezTo>
                <a:cubicBezTo>
                  <a:pt x="670022" y="310753"/>
                  <a:pt x="686319" y="320055"/>
                  <a:pt x="700458" y="331515"/>
                </a:cubicBezTo>
                <a:cubicBezTo>
                  <a:pt x="714596" y="342974"/>
                  <a:pt x="726428" y="355997"/>
                  <a:pt x="735953" y="370582"/>
                </a:cubicBezTo>
                <a:cubicBezTo>
                  <a:pt x="745478" y="385167"/>
                  <a:pt x="752622" y="401092"/>
                  <a:pt x="757384" y="418356"/>
                </a:cubicBezTo>
                <a:cubicBezTo>
                  <a:pt x="762147" y="435620"/>
                  <a:pt x="764528" y="453628"/>
                  <a:pt x="764528" y="472380"/>
                </a:cubicBezTo>
                <a:cubicBezTo>
                  <a:pt x="764528" y="500360"/>
                  <a:pt x="759319" y="525959"/>
                  <a:pt x="748901" y="549176"/>
                </a:cubicBezTo>
                <a:cubicBezTo>
                  <a:pt x="738483" y="572393"/>
                  <a:pt x="723898" y="592262"/>
                  <a:pt x="705146" y="608781"/>
                </a:cubicBezTo>
                <a:cubicBezTo>
                  <a:pt x="686393" y="625301"/>
                  <a:pt x="663920" y="638175"/>
                  <a:pt x="637727" y="647402"/>
                </a:cubicBezTo>
                <a:cubicBezTo>
                  <a:pt x="611533" y="656630"/>
                  <a:pt x="582660" y="661243"/>
                  <a:pt x="551109" y="661243"/>
                </a:cubicBezTo>
                <a:cubicBezTo>
                  <a:pt x="519855" y="661243"/>
                  <a:pt x="491205" y="656630"/>
                  <a:pt x="465160" y="647402"/>
                </a:cubicBezTo>
                <a:cubicBezTo>
                  <a:pt x="439115" y="638175"/>
                  <a:pt x="416642" y="625301"/>
                  <a:pt x="397741" y="608781"/>
                </a:cubicBezTo>
                <a:cubicBezTo>
                  <a:pt x="378840" y="592262"/>
                  <a:pt x="364106" y="572393"/>
                  <a:pt x="353539" y="549176"/>
                </a:cubicBezTo>
                <a:cubicBezTo>
                  <a:pt x="342972" y="525959"/>
                  <a:pt x="337689" y="500360"/>
                  <a:pt x="337689" y="472380"/>
                </a:cubicBezTo>
                <a:cubicBezTo>
                  <a:pt x="337689" y="453926"/>
                  <a:pt x="339996" y="436066"/>
                  <a:pt x="344610" y="418802"/>
                </a:cubicBezTo>
                <a:cubicBezTo>
                  <a:pt x="349223" y="401538"/>
                  <a:pt x="356144" y="385614"/>
                  <a:pt x="365371" y="371029"/>
                </a:cubicBezTo>
                <a:cubicBezTo>
                  <a:pt x="374598" y="356443"/>
                  <a:pt x="386207" y="343347"/>
                  <a:pt x="400197" y="331738"/>
                </a:cubicBezTo>
                <a:cubicBezTo>
                  <a:pt x="414187" y="320129"/>
                  <a:pt x="430558" y="310753"/>
                  <a:pt x="449310" y="303609"/>
                </a:cubicBezTo>
                <a:cubicBezTo>
                  <a:pt x="421628" y="288131"/>
                  <a:pt x="399602" y="268263"/>
                  <a:pt x="383231" y="244004"/>
                </a:cubicBezTo>
                <a:cubicBezTo>
                  <a:pt x="366859" y="219745"/>
                  <a:pt x="358674" y="192881"/>
                  <a:pt x="358674" y="163413"/>
                </a:cubicBezTo>
                <a:cubicBezTo>
                  <a:pt x="358674" y="139898"/>
                  <a:pt x="363511" y="118170"/>
                  <a:pt x="373185" y="98227"/>
                </a:cubicBezTo>
                <a:cubicBezTo>
                  <a:pt x="382858" y="78284"/>
                  <a:pt x="396253" y="61020"/>
                  <a:pt x="413368" y="46434"/>
                </a:cubicBezTo>
                <a:cubicBezTo>
                  <a:pt x="430483" y="31849"/>
                  <a:pt x="450650" y="20464"/>
                  <a:pt x="473867" y="12278"/>
                </a:cubicBezTo>
                <a:cubicBezTo>
                  <a:pt x="497084" y="4093"/>
                  <a:pt x="522385" y="0"/>
                  <a:pt x="549769" y="0"/>
                </a:cubicBezTo>
                <a:close/>
                <a:moveTo>
                  <a:pt x="54320" y="0"/>
                </a:moveTo>
                <a:cubicBezTo>
                  <a:pt x="195112" y="0"/>
                  <a:pt x="265507" y="109389"/>
                  <a:pt x="265507" y="328166"/>
                </a:cubicBezTo>
                <a:cubicBezTo>
                  <a:pt x="265507" y="436513"/>
                  <a:pt x="245639" y="519187"/>
                  <a:pt x="205902" y="576188"/>
                </a:cubicBezTo>
                <a:cubicBezTo>
                  <a:pt x="166165" y="633189"/>
                  <a:pt x="110577" y="661690"/>
                  <a:pt x="39140" y="661690"/>
                </a:cubicBezTo>
                <a:lnTo>
                  <a:pt x="0" y="657460"/>
                </a:lnTo>
                <a:lnTo>
                  <a:pt x="0" y="565373"/>
                </a:lnTo>
                <a:lnTo>
                  <a:pt x="47177" y="579537"/>
                </a:lnTo>
                <a:cubicBezTo>
                  <a:pt x="122186" y="579537"/>
                  <a:pt x="159691" y="498128"/>
                  <a:pt x="159691" y="335310"/>
                </a:cubicBezTo>
                <a:cubicBezTo>
                  <a:pt x="159691" y="166836"/>
                  <a:pt x="122930" y="82600"/>
                  <a:pt x="49409" y="82600"/>
                </a:cubicBezTo>
                <a:lnTo>
                  <a:pt x="0" y="98150"/>
                </a:lnTo>
                <a:lnTo>
                  <a:pt x="0" y="6310"/>
                </a:lnTo>
                <a:lnTo>
                  <a:pt x="2417" y="5442"/>
                </a:lnTo>
                <a:cubicBezTo>
                  <a:pt x="18639" y="1814"/>
                  <a:pt x="35940" y="0"/>
                  <a:pt x="5432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36" tIns="45718" rIns="91436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/>
            <a:endParaRPr lang="fr-FR" sz="7200" dirty="0">
              <a:solidFill>
                <a:srgbClr val="8F733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2877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4C00B8F-F895-7E40-9A20-C0FD2F8E41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248639" y="20417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65106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238199" y="295822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54667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238199" y="386010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54667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3"/>
          </p:nvPr>
        </p:nvSpPr>
        <p:spPr>
          <a:xfrm>
            <a:off x="6227761" y="4776589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44230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5083490" y="205635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5073051" y="2972841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7"/>
          </p:nvPr>
        </p:nvSpPr>
        <p:spPr>
          <a:xfrm>
            <a:off x="5073051" y="3874717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8"/>
          </p:nvPr>
        </p:nvSpPr>
        <p:spPr>
          <a:xfrm>
            <a:off x="5062614" y="4791205"/>
            <a:ext cx="892207" cy="67368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66395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5595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55952" y="387472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45517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887732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1644BA6-F1B0-4959-8AED-0854FCD61CF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xmlns="" id="{A7CA037B-8857-4C53-8EAB-EDD558ADF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03" y="1512743"/>
            <a:ext cx="10937872" cy="40462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367369B-417F-40FB-99A2-E10AEF792B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F94117B4-6B84-4BF8-91AB-035F88594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64328354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PROJ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CD4C7E74-C453-45AC-AC94-C7FE2D559C59}"/>
              </a:ext>
            </a:extLst>
          </p:cNvPr>
          <p:cNvSpPr txBox="1"/>
          <p:nvPr userDrawn="1"/>
        </p:nvSpPr>
        <p:spPr>
          <a:xfrm>
            <a:off x="1341120" y="2105563"/>
            <a:ext cx="9509760" cy="2646879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algn="ctr" defTabSz="1219170"/>
            <a:r>
              <a:rPr lang="fr-FR" sz="16700" dirty="0">
                <a:solidFill>
                  <a:prstClr val="white">
                    <a:lumMod val="95000"/>
                  </a:prstClr>
                </a:solidFill>
              </a:rPr>
              <a:t>PROJET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2" y="1879602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94529E0-E95C-4DF8-ADC9-FF4481C97AA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683575-36AF-4D09-81B6-6B1B7BB89C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15138628-8A7F-4635-B3F7-426426462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241758929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_CONFIDEN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2" y="1879602"/>
            <a:ext cx="11452225" cy="34163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xmlns="" id="{0C94234B-5C67-4B53-99B0-AC1B1E325A4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9CFB19-F573-472E-918C-64F2EAE932C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BBA8B754-8573-4A77-8067-2C923206FF45}"/>
              </a:ext>
            </a:extLst>
          </p:cNvPr>
          <p:cNvSpPr txBox="1"/>
          <p:nvPr userDrawn="1"/>
        </p:nvSpPr>
        <p:spPr>
          <a:xfrm>
            <a:off x="716280" y="2644171"/>
            <a:ext cx="10759440" cy="1569660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algn="ctr" defTabSz="1219170"/>
            <a:r>
              <a:rPr lang="fr-FR" sz="9600" dirty="0">
                <a:solidFill>
                  <a:prstClr val="white">
                    <a:lumMod val="95000"/>
                  </a:prstClr>
                </a:solidFill>
              </a:rPr>
              <a:t>CONFIDENTIEL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C2CD7F9A-402E-429F-8F84-77F22BC24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xmlns="" id="{09F7F5B4-36CA-410D-8404-46E3795E2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371475"/>
            <a:ext cx="10937872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07802429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BB7F23-5988-412E-86D9-81DE08FD0B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D74337E-6E73-4EAB-99AC-39F61A3C76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484634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SIMPL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rgbClr val="597F6D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FBB7F23-5988-412E-86D9-81DE08FD0B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D74337E-6E73-4EAB-99AC-39F61A3C76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77634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5F8E201-2DB0-4523-81F4-CF3F71D4C84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F8F19E19-68CD-49AB-9754-6A7CCA40E9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65681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74A49C26-296F-4650-B0D8-82FFD3131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10465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73187AA-5075-48AC-A2EC-FB001127159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DED61E90-8286-4ED3-8568-5477E1F847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0067" y="275243"/>
            <a:ext cx="1153584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7259926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6EA4DF2-3DF5-4B40-8DF8-95D0EB4F20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A60784C-F81B-43EB-A4E6-8EEB422595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76792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SAUM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2E8086F-DB33-4166-971A-2D85E292A9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5387DC19-F771-4D83-B928-120E36FF3B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7595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277633" y="20417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7267195" y="2958241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267194" y="38601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256755" y="4776602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878919" y="205636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0"/>
          </p:nvPr>
        </p:nvSpPr>
        <p:spPr>
          <a:xfrm>
            <a:off x="868482" y="2972854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68481" y="3874727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0"/>
          <p:cNvSpPr>
            <a:spLocks noGrp="1"/>
          </p:cNvSpPr>
          <p:nvPr>
            <p:ph type="body" sz="quarter" idx="32"/>
          </p:nvPr>
        </p:nvSpPr>
        <p:spPr>
          <a:xfrm>
            <a:off x="858043" y="479121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242145" y="224425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5242145" y="3172569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242145" y="410088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5242145" y="5029201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659677" y="2237640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6659677" y="3165957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659677" y="4094273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6659677" y="5022588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6191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973" y="861047"/>
            <a:ext cx="10481203" cy="585788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4973" y="1879602"/>
            <a:ext cx="10481203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xmlns="" id="{3A19EFA9-02D0-4585-8228-6B097E596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C5878CD0-C08E-4DA0-A708-BEA8A43B629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17EC45D-EABF-479D-AD65-D1C4621E80B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DBF80C8-213E-4261-A0C5-F2DC2C992E5D}"/>
              </a:ext>
            </a:extLst>
          </p:cNvPr>
          <p:cNvSpPr/>
          <p:nvPr userDrawn="1"/>
        </p:nvSpPr>
        <p:spPr>
          <a:xfrm>
            <a:off x="193958" y="230031"/>
            <a:ext cx="631017" cy="6310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DBD17E9-24FF-46A9-9B2D-A1893ABE76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77171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1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5" y="657226"/>
            <a:ext cx="5384799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1" y="1879602"/>
            <a:ext cx="5384800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F69826D-EDD5-41C8-97B5-A9DC983A9B5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7602" y="1028471"/>
            <a:ext cx="1823951" cy="1823951"/>
          </a:xfr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A12BF44C-2B46-485B-A639-8F8595FCB19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3049" y="3055620"/>
            <a:ext cx="3513051" cy="2240280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836A1F14-B48D-439C-9E67-9A47F1B3D8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80196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5" y="657226"/>
            <a:ext cx="5384799" cy="585788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2"/>
            <a:ext cx="6718299" cy="3416300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xmlns="" id="{84E99456-14B3-4AFE-B48C-B99FB53E6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xmlns="" id="{FA69629D-32B4-430F-9CC8-F4DFDA2706C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60F9ED0-8671-42BB-BF4E-364C34B41E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A9944700-63BA-4509-A877-D49F0CD26C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81901" y="809625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xmlns="" id="{77B2FE61-0C22-4D36-A924-135A84743A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6224" y="809625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xmlns="" id="{C9052613-25C8-437B-BC4A-06FF08BC3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1901" y="20661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xmlns="" id="{4B178C7D-F1AC-4431-982C-69EC09DE99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76224" y="20661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xmlns="" id="{3BFDAF50-B2F7-441D-897F-A91F0733815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581901" y="33226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3">
            <a:extLst>
              <a:ext uri="{FF2B5EF4-FFF2-40B4-BE49-F238E27FC236}">
                <a16:creationId xmlns:a16="http://schemas.microsoft.com/office/drawing/2014/main" xmlns="" id="{47B54CFE-4903-4F70-A159-08F044B656E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976224" y="3322621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3">
            <a:extLst>
              <a:ext uri="{FF2B5EF4-FFF2-40B4-BE49-F238E27FC236}">
                <a16:creationId xmlns:a16="http://schemas.microsoft.com/office/drawing/2014/main" xmlns="" id="{817CB54D-1AD2-4936-B1D1-9B1D374B17D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581901" y="4579120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B8E550A9-3CF4-470C-B94C-6CF8EC6CDCB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76224" y="4579120"/>
            <a:ext cx="1122451" cy="1122451"/>
          </a:xfrm>
        </p:spPr>
        <p:txBody>
          <a:bodyPr/>
          <a:lstStyle/>
          <a:p>
            <a:endParaRPr lang="fr-FR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B35536D8-EE9D-426B-9AE8-4F9A514723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20410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40" y="286681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3" y="805483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80"/>
            <a:ext cx="2231796" cy="1478643"/>
          </a:xfrm>
          <a:solidFill>
            <a:schemeClr val="bg2"/>
          </a:solidFill>
        </p:spPr>
        <p:txBody>
          <a:bodyPr lIns="359982" tIns="359982" rIns="359982" bIns="359982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2973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151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C618B6D-0F0F-413F-886D-2859A5B3C0B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23CEB73-9E1C-40C3-AB9C-D081D76ED1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8507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SMARTPHON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4574;p114" descr="iphone-xr-with-hand.png">
            <a:extLst>
              <a:ext uri="{FF2B5EF4-FFF2-40B4-BE49-F238E27FC236}">
                <a16:creationId xmlns:a16="http://schemas.microsoft.com/office/drawing/2014/main" xmlns="" id="{75AE9565-D546-4100-8764-A60DF567C8F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6740" y="286681"/>
            <a:ext cx="4933959" cy="59140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space réservé pour une image  23">
            <a:extLst>
              <a:ext uri="{FF2B5EF4-FFF2-40B4-BE49-F238E27FC236}">
                <a16:creationId xmlns:a16="http://schemas.microsoft.com/office/drawing/2014/main" xmlns="" id="{B42EE5E9-0A13-4C57-8DFE-E0E6190B6D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37223" y="805483"/>
            <a:ext cx="1651916" cy="3590623"/>
          </a:xfrm>
          <a:prstGeom prst="roundRect">
            <a:avLst>
              <a:gd name="adj" fmla="val 10070"/>
            </a:avLst>
          </a:prstGeom>
          <a:ln>
            <a:solidFill>
              <a:srgbClr val="B5A99D"/>
            </a:solidFill>
          </a:ln>
        </p:spPr>
        <p:txBody>
          <a:bodyPr/>
          <a:lstStyle/>
          <a:p>
            <a:endParaRPr lang="fr-FR"/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EB90D3E7-52F6-493F-9EFA-8AF6BFC64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spcBef>
                <a:spcPts val="0"/>
              </a:spcBef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A10258A-88D8-4916-AD13-6CD48657AD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4279" y="2689680"/>
            <a:ext cx="2231796" cy="1478643"/>
          </a:xfrm>
          <a:solidFill>
            <a:schemeClr val="accent5"/>
          </a:solidFill>
        </p:spPr>
        <p:txBody>
          <a:bodyPr lIns="359982" tIns="359982" rIns="359982" bIns="359982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  <a:latin typeface="+mn-lt"/>
              </a:defRPr>
            </a:lvl2pPr>
            <a:lvl3pPr algn="ctr">
              <a:spcBef>
                <a:spcPts val="0"/>
              </a:spcBef>
              <a:defRPr>
                <a:solidFill>
                  <a:schemeClr val="bg1"/>
                </a:solidFill>
                <a:latin typeface="+mn-lt"/>
              </a:defRPr>
            </a:lvl3pPr>
            <a:lvl4pPr marL="1542973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4pPr>
            <a:lvl5pPr marL="2000151" indent="-171442" algn="ctr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Légend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73CB5692-6408-4D6C-86D0-2D059EC1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16D11E8C-BF32-4E11-83D2-6F7E8B4347F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108E006-CCE9-4FDE-AB8F-939FD05AA6D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84551078-BAFC-43D4-8EDB-604A7B7522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730500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BEA5D0C3-F7E4-468C-90E5-D779F92960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92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QUETTE 4 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1036488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xmlns="" id="{2C76294A-1998-4304-B770-CFCF7E4AF6DD}"/>
              </a:ext>
            </a:extLst>
          </p:cNvPr>
          <p:cNvGrpSpPr/>
          <p:nvPr userDrawn="1"/>
        </p:nvGrpSpPr>
        <p:grpSpPr>
          <a:xfrm>
            <a:off x="980708" y="1653896"/>
            <a:ext cx="2771411" cy="4193144"/>
            <a:chOff x="4618653" y="2171908"/>
            <a:chExt cx="2938924" cy="4446592"/>
          </a:xfrm>
        </p:grpSpPr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xmlns="" id="{8B4151C9-1F90-423E-A0E4-162D8FC57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xmlns="" id="{7D42B985-C58B-4203-BC88-CDEBF62EEC44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Espace réservé pour une image  13">
            <a:extLst>
              <a:ext uri="{FF2B5EF4-FFF2-40B4-BE49-F238E27FC236}">
                <a16:creationId xmlns:a16="http://schemas.microsoft.com/office/drawing/2014/main" xmlns="" id="{FD2AA9AA-BE97-421C-AD50-433ED59B36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76863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72630C35-AE06-4C29-A0C4-BBBC74B4BC19}"/>
              </a:ext>
            </a:extLst>
          </p:cNvPr>
          <p:cNvGrpSpPr/>
          <p:nvPr userDrawn="1"/>
        </p:nvGrpSpPr>
        <p:grpSpPr>
          <a:xfrm>
            <a:off x="3464289" y="1653896"/>
            <a:ext cx="2771411" cy="4193144"/>
            <a:chOff x="4618653" y="2171908"/>
            <a:chExt cx="2938924" cy="4446592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xmlns="" id="{93A61531-9990-4B27-9208-1B6B888ED0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xmlns="" id="{405D35F2-86F6-44F5-9053-D9952AB4BE91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2" name="Espace réservé pour une image  13">
            <a:extLst>
              <a:ext uri="{FF2B5EF4-FFF2-40B4-BE49-F238E27FC236}">
                <a16:creationId xmlns:a16="http://schemas.microsoft.com/office/drawing/2014/main" xmlns="" id="{66670318-6609-48D0-8B6A-9AA383DB4C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0445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xmlns="" id="{D28E1024-3750-4AF3-BD15-C1776FF8DDBE}"/>
              </a:ext>
            </a:extLst>
          </p:cNvPr>
          <p:cNvGrpSpPr/>
          <p:nvPr userDrawn="1"/>
        </p:nvGrpSpPr>
        <p:grpSpPr>
          <a:xfrm>
            <a:off x="5957496" y="1653896"/>
            <a:ext cx="2771411" cy="4193144"/>
            <a:chOff x="4618653" y="2171908"/>
            <a:chExt cx="2938924" cy="4446592"/>
          </a:xfrm>
        </p:grpSpPr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xmlns="" id="{D8450ECB-002C-4424-A6B5-C6994A1C4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5" name="Forme libre : forme 34">
              <a:extLst>
                <a:ext uri="{FF2B5EF4-FFF2-40B4-BE49-F238E27FC236}">
                  <a16:creationId xmlns:a16="http://schemas.microsoft.com/office/drawing/2014/main" xmlns="" id="{AB1661DF-5F8F-4901-8287-BC1B82ECDF15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36" name="Espace réservé pour une image  13">
            <a:extLst>
              <a:ext uri="{FF2B5EF4-FFF2-40B4-BE49-F238E27FC236}">
                <a16:creationId xmlns:a16="http://schemas.microsoft.com/office/drawing/2014/main" xmlns="" id="{382893CA-CF82-43AA-A5BF-6E4D4B0D667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53651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xmlns="" id="{A952395F-6661-453F-929E-174D6751537F}"/>
              </a:ext>
            </a:extLst>
          </p:cNvPr>
          <p:cNvGrpSpPr/>
          <p:nvPr userDrawn="1"/>
        </p:nvGrpSpPr>
        <p:grpSpPr>
          <a:xfrm>
            <a:off x="8451388" y="1653896"/>
            <a:ext cx="2771411" cy="4193144"/>
            <a:chOff x="4618653" y="2171908"/>
            <a:chExt cx="2938924" cy="4446592"/>
          </a:xfrm>
        </p:grpSpPr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xmlns="" id="{60884718-3B21-4C78-BE0E-749884421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653" y="2171908"/>
              <a:ext cx="2938924" cy="4446592"/>
            </a:xfrm>
            <a:prstGeom prst="rect">
              <a:avLst/>
            </a:prstGeom>
            <a:effectLst>
              <a:outerShdw blurRad="241300" algn="ctr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39" name="Forme libre : forme 38">
              <a:extLst>
                <a:ext uri="{FF2B5EF4-FFF2-40B4-BE49-F238E27FC236}">
                  <a16:creationId xmlns:a16="http://schemas.microsoft.com/office/drawing/2014/main" xmlns="" id="{1464A2B0-EA8E-4A91-B711-95365C974A10}"/>
                </a:ext>
              </a:extLst>
            </p:cNvPr>
            <p:cNvSpPr/>
            <p:nvPr/>
          </p:nvSpPr>
          <p:spPr>
            <a:xfrm>
              <a:off x="5144594" y="2258235"/>
              <a:ext cx="1893782" cy="4097689"/>
            </a:xfrm>
            <a:custGeom>
              <a:avLst/>
              <a:gdLst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71917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42992 w 1206703"/>
                <a:gd name="connsiteY5" fmla="*/ 37142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  <a:gd name="connsiteX0" fmla="*/ 109557 w 1206703"/>
                <a:gd name="connsiteY0" fmla="*/ 0 h 2588419"/>
                <a:gd name="connsiteX1" fmla="*/ 271917 w 1206703"/>
                <a:gd name="connsiteY1" fmla="*/ 0 h 2588419"/>
                <a:gd name="connsiteX2" fmla="*/ 290125 w 1206703"/>
                <a:gd name="connsiteY2" fmla="*/ 37142 h 2588419"/>
                <a:gd name="connsiteX3" fmla="*/ 344171 w 1206703"/>
                <a:gd name="connsiteY3" fmla="*/ 110636 h 2588419"/>
                <a:gd name="connsiteX4" fmla="*/ 870739 w 1206703"/>
                <a:gd name="connsiteY4" fmla="*/ 110636 h 2588419"/>
                <a:gd name="connsiteX5" fmla="*/ 920738 w 1206703"/>
                <a:gd name="connsiteY5" fmla="*/ 33131 h 2588419"/>
                <a:gd name="connsiteX6" fmla="*/ 942992 w 1206703"/>
                <a:gd name="connsiteY6" fmla="*/ 0 h 2588419"/>
                <a:gd name="connsiteX7" fmla="*/ 1097147 w 1206703"/>
                <a:gd name="connsiteY7" fmla="*/ 0 h 2588419"/>
                <a:gd name="connsiteX8" fmla="*/ 1206703 w 1206703"/>
                <a:gd name="connsiteY8" fmla="*/ 111437 h 2588419"/>
                <a:gd name="connsiteX9" fmla="*/ 1206703 w 1206703"/>
                <a:gd name="connsiteY9" fmla="*/ 2476982 h 2588419"/>
                <a:gd name="connsiteX10" fmla="*/ 1097147 w 1206703"/>
                <a:gd name="connsiteY10" fmla="*/ 2588419 h 2588419"/>
                <a:gd name="connsiteX11" fmla="*/ 109557 w 1206703"/>
                <a:gd name="connsiteY11" fmla="*/ 2588419 h 2588419"/>
                <a:gd name="connsiteX12" fmla="*/ 0 w 1206703"/>
                <a:gd name="connsiteY12" fmla="*/ 2476982 h 2588419"/>
                <a:gd name="connsiteX13" fmla="*/ 0 w 1206703"/>
                <a:gd name="connsiteY13" fmla="*/ 111437 h 2588419"/>
                <a:gd name="connsiteX14" fmla="*/ 109557 w 1206703"/>
                <a:gd name="connsiteY14" fmla="*/ 0 h 2588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06703" h="2588419">
                  <a:moveTo>
                    <a:pt x="109557" y="0"/>
                  </a:moveTo>
                  <a:lnTo>
                    <a:pt x="271917" y="0"/>
                  </a:lnTo>
                  <a:cubicBezTo>
                    <a:pt x="271917" y="12381"/>
                    <a:pt x="290125" y="24761"/>
                    <a:pt x="290125" y="37142"/>
                  </a:cubicBezTo>
                  <a:cubicBezTo>
                    <a:pt x="290125" y="77731"/>
                    <a:pt x="304267" y="110636"/>
                    <a:pt x="344171" y="110636"/>
                  </a:cubicBezTo>
                  <a:lnTo>
                    <a:pt x="870739" y="110636"/>
                  </a:lnTo>
                  <a:cubicBezTo>
                    <a:pt x="910643" y="110636"/>
                    <a:pt x="920738" y="73720"/>
                    <a:pt x="920738" y="33131"/>
                  </a:cubicBezTo>
                  <a:lnTo>
                    <a:pt x="942992" y="0"/>
                  </a:lnTo>
                  <a:lnTo>
                    <a:pt x="1097147" y="0"/>
                  </a:lnTo>
                  <a:cubicBezTo>
                    <a:pt x="1157653" y="0"/>
                    <a:pt x="1206703" y="49892"/>
                    <a:pt x="1206703" y="111437"/>
                  </a:cubicBezTo>
                  <a:lnTo>
                    <a:pt x="1206703" y="2476982"/>
                  </a:lnTo>
                  <a:cubicBezTo>
                    <a:pt x="1206703" y="2538528"/>
                    <a:pt x="1157653" y="2588419"/>
                    <a:pt x="1097147" y="2588419"/>
                  </a:cubicBezTo>
                  <a:lnTo>
                    <a:pt x="109557" y="2588419"/>
                  </a:lnTo>
                  <a:cubicBezTo>
                    <a:pt x="49050" y="2588419"/>
                    <a:pt x="0" y="2538528"/>
                    <a:pt x="0" y="2476982"/>
                  </a:cubicBezTo>
                  <a:lnTo>
                    <a:pt x="0" y="111437"/>
                  </a:lnTo>
                  <a:cubicBezTo>
                    <a:pt x="0" y="49892"/>
                    <a:pt x="49050" y="0"/>
                    <a:pt x="109557" y="0"/>
                  </a:cubicBezTo>
                  <a:close/>
                </a:path>
              </a:pathLst>
            </a:custGeom>
            <a:solidFill>
              <a:srgbClr val="0200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1219170"/>
              <a:endParaRPr lang="fr-FR" sz="1200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Espace réservé pour une image  13">
            <a:extLst>
              <a:ext uri="{FF2B5EF4-FFF2-40B4-BE49-F238E27FC236}">
                <a16:creationId xmlns:a16="http://schemas.microsoft.com/office/drawing/2014/main" xmlns="" id="{93844F57-D704-4B20-902F-95C6CB2011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47543" y="1749489"/>
            <a:ext cx="1785840" cy="3830688"/>
          </a:xfrm>
          <a:custGeom>
            <a:avLst/>
            <a:gdLst>
              <a:gd name="connsiteX0" fmla="*/ 127122 w 1400175"/>
              <a:gd name="connsiteY0" fmla="*/ 0 h 2952751"/>
              <a:gd name="connsiteX1" fmla="*/ 315514 w 1400175"/>
              <a:gd name="connsiteY1" fmla="*/ 0 h 2952751"/>
              <a:gd name="connsiteX2" fmla="*/ 315514 w 1400175"/>
              <a:gd name="connsiteY2" fmla="*/ 42370 h 2952751"/>
              <a:gd name="connsiteX3" fmla="*/ 399352 w 1400175"/>
              <a:gd name="connsiteY3" fmla="*/ 126208 h 2952751"/>
              <a:gd name="connsiteX4" fmla="*/ 1010345 w 1400175"/>
              <a:gd name="connsiteY4" fmla="*/ 126208 h 2952751"/>
              <a:gd name="connsiteX5" fmla="*/ 1094183 w 1400175"/>
              <a:gd name="connsiteY5" fmla="*/ 42370 h 2952751"/>
              <a:gd name="connsiteX6" fmla="*/ 1094183 w 1400175"/>
              <a:gd name="connsiteY6" fmla="*/ 0 h 2952751"/>
              <a:gd name="connsiteX7" fmla="*/ 1273053 w 1400175"/>
              <a:gd name="connsiteY7" fmla="*/ 0 h 2952751"/>
              <a:gd name="connsiteX8" fmla="*/ 1400175 w 1400175"/>
              <a:gd name="connsiteY8" fmla="*/ 127122 h 2952751"/>
              <a:gd name="connsiteX9" fmla="*/ 1400175 w 1400175"/>
              <a:gd name="connsiteY9" fmla="*/ 2825629 h 2952751"/>
              <a:gd name="connsiteX10" fmla="*/ 1273053 w 1400175"/>
              <a:gd name="connsiteY10" fmla="*/ 2952751 h 2952751"/>
              <a:gd name="connsiteX11" fmla="*/ 127122 w 1400175"/>
              <a:gd name="connsiteY11" fmla="*/ 2952751 h 2952751"/>
              <a:gd name="connsiteX12" fmla="*/ 0 w 1400175"/>
              <a:gd name="connsiteY12" fmla="*/ 2825629 h 2952751"/>
              <a:gd name="connsiteX13" fmla="*/ 0 w 1400175"/>
              <a:gd name="connsiteY13" fmla="*/ 127122 h 2952751"/>
              <a:gd name="connsiteX14" fmla="*/ 127122 w 1400175"/>
              <a:gd name="connsiteY14" fmla="*/ 0 h 295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00175" h="2952751">
                <a:moveTo>
                  <a:pt x="127122" y="0"/>
                </a:moveTo>
                <a:lnTo>
                  <a:pt x="315514" y="0"/>
                </a:lnTo>
                <a:lnTo>
                  <a:pt x="315514" y="42370"/>
                </a:lnTo>
                <a:cubicBezTo>
                  <a:pt x="315514" y="88672"/>
                  <a:pt x="353050" y="126208"/>
                  <a:pt x="399352" y="126208"/>
                </a:cubicBezTo>
                <a:lnTo>
                  <a:pt x="1010345" y="126208"/>
                </a:lnTo>
                <a:cubicBezTo>
                  <a:pt x="1056647" y="126208"/>
                  <a:pt x="1094183" y="88672"/>
                  <a:pt x="1094183" y="42370"/>
                </a:cubicBezTo>
                <a:lnTo>
                  <a:pt x="1094183" y="0"/>
                </a:lnTo>
                <a:lnTo>
                  <a:pt x="1273053" y="0"/>
                </a:lnTo>
                <a:cubicBezTo>
                  <a:pt x="1343261" y="0"/>
                  <a:pt x="1400175" y="56914"/>
                  <a:pt x="1400175" y="127122"/>
                </a:cubicBezTo>
                <a:lnTo>
                  <a:pt x="1400175" y="2825629"/>
                </a:lnTo>
                <a:cubicBezTo>
                  <a:pt x="1400175" y="2895837"/>
                  <a:pt x="1343261" y="2952751"/>
                  <a:pt x="1273053" y="2952751"/>
                </a:cubicBezTo>
                <a:lnTo>
                  <a:pt x="127122" y="2952751"/>
                </a:lnTo>
                <a:cubicBezTo>
                  <a:pt x="56914" y="2952751"/>
                  <a:pt x="0" y="2895837"/>
                  <a:pt x="0" y="2825629"/>
                </a:cubicBezTo>
                <a:lnTo>
                  <a:pt x="0" y="127122"/>
                </a:lnTo>
                <a:cubicBezTo>
                  <a:pt x="0" y="56914"/>
                  <a:pt x="56914" y="0"/>
                  <a:pt x="1271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39700" sx="99000" sy="99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fr-FR" sz="24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xmlns="" id="{E0AF8F31-74D8-47B0-9C69-E01A950D1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4" name="Espace réservé de la date 3">
            <a:extLst>
              <a:ext uri="{FF2B5EF4-FFF2-40B4-BE49-F238E27FC236}">
                <a16:creationId xmlns:a16="http://schemas.microsoft.com/office/drawing/2014/main" xmlns="" id="{E12E81F9-23C3-491A-9DED-3E33876A5CA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D977E081-0F91-4EA2-99B4-DB5B6335F47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41" name="Espace réservé du pied de page 4">
            <a:extLst>
              <a:ext uri="{FF2B5EF4-FFF2-40B4-BE49-F238E27FC236}">
                <a16:creationId xmlns:a16="http://schemas.microsoft.com/office/drawing/2014/main" xmlns="" id="{383F448C-30B7-4993-9FD7-B88FD1C1C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3272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4CD7BEF6-BE2A-473E-AD34-D67B3DD49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851F5E09-6B46-428A-A166-AD40B0455D7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65C7FCF-9F83-44D4-85D0-07C9F1F44F1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DEC718EC-4C3B-499E-94DB-2AD4DB80A5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75098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A699C0B1-4B67-446C-86D6-A334CC8E1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1B55442C-5E45-44D7-99AE-2C586736795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44C6B1F-D16A-422D-A123-3EA857EC2B0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39D73DE9-D449-4D70-A8EE-1B7BC5E9C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21473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24BE967-7184-40D9-AB8B-2859B9EF7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0F6A860-FBAF-4703-BCC5-9A8FDBF506DD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2712D04-47BE-40CD-84CA-E58F99A4CEA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69400311-FF09-4B92-BB88-4A3EBEE777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31527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94FEA76-69BB-4A89-932E-74D9EE41E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5A8F8A98-72A2-4D8B-A808-EFE5A2669C8F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5815BCE-5C2A-4816-908F-F7ED273BCDD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888AD6FB-6112-42A5-975D-6BE11DF822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2725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42170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3230881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040057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6849233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8658409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10467585" y="3310005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701470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701461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2513150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2513141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4324832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4324821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6136514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6136501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7948194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7948185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9759874" y="3860159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9759864" y="43559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50588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EA79DE3C-41A1-4554-BCAF-E9267D886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ABFC8D4-6CA7-49C7-9BCB-1B5A144C37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538E78-9AD1-44EE-AD1A-16EF9EF4A24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F82DD4B-7F4F-43B7-81E9-90FF0A6249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30058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4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40DDB657-1B87-4D1F-8E3F-963706EC3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24809C26-123E-42EF-9F79-19CE2341BE2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FB5B5E9-BF69-4E22-9C89-7979B0BBB5B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29C5580-BF69-4CAA-9D27-9D1381DAA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8661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5A307CB-BE33-45E6-85CF-317C6FB3A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640A224F-0E19-4286-BAF7-AFDC38ECCC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CDCF0F1-9CEE-41E4-B2C6-A2074347549D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70B47C3B-B28A-436B-9CA0-0D846F46E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47775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>
            <a:off x="8191502" y="-36496"/>
            <a:ext cx="4000500" cy="563463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B78E957E-A8D4-4AD4-8218-CA20D9811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0131F4AA-9A37-4D2B-B8EC-2294F4703526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0A61D0A-79A4-4C40-BF21-16C95F862E4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4F16161-35CD-4D60-BEC5-683735BE09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55895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839DC47-7B58-4209-9CF2-E8BAA25B3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A5803B5A-F009-45F6-A2A9-4FFD9AEDE80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CEE4F3C-6D48-4CAA-8FAE-9DA8A2A8F24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A50E0C5F-CD22-463B-BCCF-C116AA23E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922DE014-48C6-4BD3-BA9D-44C4F168F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62674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F11E211B-4164-4B86-8C4D-387492CBB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C31097D-3566-49AC-A04C-8968DEA37498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DFC69CF-9E46-4AB3-B3B5-62781D3A5D6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4252A59D-3BD1-4F65-BC36-2D515DA616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5CABD64-8FB7-4F47-AF89-E9983B7638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757828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250E82C4-1AC0-4559-A368-B396F25BE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D24B2044-566B-4656-8CFC-BDC0AE86A9F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10DFE96-6C9F-4904-B4C4-CBDC0990F7C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97E83193-303E-43A0-B6AA-BAD515CF33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F2FE5864-3720-4778-94BB-C1B5671BC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176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BB141C0E-1A82-43A0-9E9B-D37BDFE76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890975AB-1C69-4A6E-B66F-B928B3F06DC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AB3946B-FD33-4C79-B853-FE66A177258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5E108138-D32B-42E4-B836-B9E573A87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A8FDC78F-F498-4444-B2C4-40D59900D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2357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69F8C425-BF28-4E9B-8F8C-27CDA4E75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0BC1AD1D-32F4-4B06-BA63-7D8417220F8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1ABB327-7F38-436A-A138-1FE4F14F5FE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F675A3C2-F9AB-427C-B36A-6CA47876C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2A0BA483-8925-4A8E-8C79-653D3D5A1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49523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2CC4AC4-A788-41E6-B400-9FBCC1F84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96EDFA13-ADCB-486A-83E1-0524579E34D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408C17B-2904-4675-8D0E-B27E17A69C2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CCD462F6-B11F-4ADA-BDCA-0B2313B70B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A01F6D-A186-4DD7-99B3-CD2F75D8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0296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2478345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287521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096697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7905873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715049" y="3370962"/>
            <a:ext cx="237995" cy="23799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6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1758110" y="3921115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758101" y="441693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0" name="Espace réservé du texte 7"/>
          <p:cNvSpPr>
            <a:spLocks noGrp="1"/>
          </p:cNvSpPr>
          <p:nvPr>
            <p:ph type="body" sz="quarter" idx="17" hasCustomPrompt="1"/>
          </p:nvPr>
        </p:nvSpPr>
        <p:spPr>
          <a:xfrm>
            <a:off x="3569790" y="3921115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3569781" y="441693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Espace réservé du texte 7"/>
          <p:cNvSpPr>
            <a:spLocks noGrp="1"/>
          </p:cNvSpPr>
          <p:nvPr>
            <p:ph type="body" sz="quarter" idx="19" hasCustomPrompt="1"/>
          </p:nvPr>
        </p:nvSpPr>
        <p:spPr>
          <a:xfrm>
            <a:off x="5381467" y="3921115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3" name="Espace réservé du texte 10"/>
          <p:cNvSpPr>
            <a:spLocks noGrp="1"/>
          </p:cNvSpPr>
          <p:nvPr>
            <p:ph type="body" sz="quarter" idx="20"/>
          </p:nvPr>
        </p:nvSpPr>
        <p:spPr>
          <a:xfrm>
            <a:off x="5381461" y="441693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Espace réservé du texte 7"/>
          <p:cNvSpPr>
            <a:spLocks noGrp="1"/>
          </p:cNvSpPr>
          <p:nvPr>
            <p:ph type="body" sz="quarter" idx="21" hasCustomPrompt="1"/>
          </p:nvPr>
        </p:nvSpPr>
        <p:spPr>
          <a:xfrm>
            <a:off x="7193154" y="3921115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5" name="Espace réservé du texte 10"/>
          <p:cNvSpPr>
            <a:spLocks noGrp="1"/>
          </p:cNvSpPr>
          <p:nvPr>
            <p:ph type="body" sz="quarter" idx="22"/>
          </p:nvPr>
        </p:nvSpPr>
        <p:spPr>
          <a:xfrm>
            <a:off x="7193141" y="441693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6" name="Espace réservé du texte 7"/>
          <p:cNvSpPr>
            <a:spLocks noGrp="1"/>
          </p:cNvSpPr>
          <p:nvPr>
            <p:ph type="body" sz="quarter" idx="23" hasCustomPrompt="1"/>
          </p:nvPr>
        </p:nvSpPr>
        <p:spPr>
          <a:xfrm>
            <a:off x="9004834" y="3921115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7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9004825" y="441693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406421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55DF75C4-E2FA-414F-8F29-03A2A76D7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B2A36F32-79DE-4FB9-B935-41DCF6621E7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DF98270-76CE-4ED5-8C46-7C34CC3A0B7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CA37BF16-7CAC-4D4C-B700-14A7A6D6E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572921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ION ORDINATEUR GAUCH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826F24-ACEB-4704-A0E1-FEFAECC32937}"/>
              </a:ext>
            </a:extLst>
          </p:cNvPr>
          <p:cNvSpPr/>
          <p:nvPr userDrawn="1"/>
        </p:nvSpPr>
        <p:spPr>
          <a:xfrm flipH="1">
            <a:off x="2" y="-36496"/>
            <a:ext cx="8191500" cy="5634637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72E0866-5E73-49E6-8CF9-8089CA4AB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6" t="11464" r="11181" b="13108"/>
          <a:stretch/>
        </p:blipFill>
        <p:spPr>
          <a:xfrm>
            <a:off x="4868052" y="790623"/>
            <a:ext cx="6691296" cy="3879756"/>
          </a:xfrm>
          <a:prstGeom prst="rect">
            <a:avLst/>
          </a:prstGeom>
          <a:effectLst>
            <a:outerShdw blurRad="165100" sx="101000" sy="101000" algn="ctr" rotWithShape="0">
              <a:prstClr val="black">
                <a:alpha val="20000"/>
              </a:prstClr>
            </a:outerShdw>
          </a:effectLst>
        </p:spPr>
      </p:pic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xmlns="" id="{67726C84-8767-49FA-9F66-7D2E415A79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45113" y="1136718"/>
            <a:ext cx="4960987" cy="3115708"/>
          </a:xfrm>
          <a:solidFill>
            <a:schemeClr val="tx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2" name="Espace réservé du texte 6">
            <a:extLst>
              <a:ext uri="{FF2B5EF4-FFF2-40B4-BE49-F238E27FC236}">
                <a16:creationId xmlns:a16="http://schemas.microsoft.com/office/drawing/2014/main" xmlns="" id="{34C8EC9C-EC45-408E-A45B-8B8F770B89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048" y="2445611"/>
            <a:ext cx="3200753" cy="256540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3" name="Titre 1">
            <a:extLst>
              <a:ext uri="{FF2B5EF4-FFF2-40B4-BE49-F238E27FC236}">
                <a16:creationId xmlns:a16="http://schemas.microsoft.com/office/drawing/2014/main" xmlns="" id="{806B22D5-45D9-411F-ADB6-D98C1980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136719"/>
            <a:ext cx="3673631" cy="58578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908C14AC-3CAC-4DDD-85D9-286C82FCD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xmlns="" id="{72D22649-B211-44FB-BB22-36CF1EC37D5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F75A214-5EC4-4C30-B37B-77D74517503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149D9A25-3E3C-4211-9D10-86256EA8F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87929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0050271-E5BE-4D70-BFFE-38431AD9E9A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5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6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7" y="2313917"/>
            <a:ext cx="2434244" cy="33553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31271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EFDB560-ACC1-4D6F-AC62-32180F4461A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4535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43286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2035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40787" y="4108897"/>
            <a:ext cx="2434244" cy="1526563"/>
          </a:xfrm>
          <a:ln w="12700">
            <a:solidFill>
              <a:schemeClr val="bg2"/>
            </a:solidFill>
          </a:ln>
        </p:spPr>
        <p:txBody>
          <a:bodyPr lIns="107995" tIns="107995" rIns="107995" bIns="107995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387300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032471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2032471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603882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B9E4891-5471-4FCB-ADA6-40FBC2C3D75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1668745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2365829"/>
            <a:ext cx="2434244" cy="3547291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2365829"/>
            <a:ext cx="2434244" cy="3547291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591607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C660BEC-19D4-4FBF-AFB6-49EBDF58C5CC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535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3286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2035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40787" y="4789317"/>
            <a:ext cx="2434244" cy="25512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4535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43286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42035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45507" y="1533981"/>
            <a:ext cx="2434244" cy="3145427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9D1C24EF-D7D4-4DC2-BDB9-6CE2D4F8C6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44535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2AEFB79C-6151-4544-93E3-18D075BE9B5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543286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4A431409-AEDE-442A-8F97-62517634865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2035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FD5046F-4298-494A-8B51-218080C096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40787" y="5044443"/>
            <a:ext cx="2434244" cy="365125"/>
          </a:xfrm>
          <a:ln w="12700">
            <a:noFill/>
          </a:ln>
        </p:spPr>
        <p:txBody>
          <a:bodyPr lIns="359982" tIns="359982" rIns="359982" bIns="359982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100" b="0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0029707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COLONNES MODIFI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0EA477-C128-472C-90A6-0189442E493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6C566D16-2AD7-4168-870C-A8FE775AC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6914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E979BEC-05A3-4958-AE22-4A91896A63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535666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9B282774-2CB7-4799-B337-202663B2D6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4415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76FCFDD9-9181-4D84-B1D4-AB87DE262F9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33167" y="4220361"/>
            <a:ext cx="2434244" cy="1526563"/>
          </a:xfrm>
          <a:ln w="12700">
            <a:solidFill>
              <a:schemeClr val="bg2"/>
            </a:solidFill>
          </a:ln>
        </p:spPr>
        <p:txBody>
          <a:bodyPr lIns="359982" tIns="359982" rIns="359982" bIns="359982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FA474D54-FE32-41CB-A393-D682CF25EE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914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CEF78701-CFA9-4C1D-BE89-8F8CCC82E99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5666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20B1FF5D-DA4C-45CC-BB84-33126997F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4415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D31C12D-33DE-49AF-86FE-6321866AB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33167" y="3575188"/>
            <a:ext cx="2434244" cy="534707"/>
          </a:xfrm>
          <a:ln w="12700">
            <a:noFill/>
          </a:ln>
        </p:spPr>
        <p:txBody>
          <a:bodyPr lIns="359982" tIns="359982" rIns="359982" bIns="359982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Segoe UI" panose="020B0502040204020203" pitchFamily="34" charset="0"/>
              </a:defRPr>
            </a:lvl1pPr>
            <a:lvl2pPr>
              <a:buFont typeface="Arial" panose="020B0604020202020204" pitchFamily="34" charset="0"/>
              <a:buChar char="•"/>
              <a:defRPr sz="1500"/>
            </a:lvl2pPr>
            <a:lvl3pPr>
              <a:buFont typeface="Arial" panose="020B0604020202020204" pitchFamily="34" charset="0"/>
              <a:buChar char="•"/>
              <a:defRPr sz="1100"/>
            </a:lvl3pPr>
            <a:lvl4pPr>
              <a:buFont typeface="Arial" panose="020B0604020202020204" pitchFamily="34" charset="0"/>
              <a:buChar char="•"/>
              <a:defRPr sz="1100"/>
            </a:lvl4pPr>
            <a:lvl5pPr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Item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xmlns="" id="{3E1090B8-B1FD-4EB3-B826-284FC30E1C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xmlns="" id="{1ADA9767-B332-4B9B-BA22-6626AF802CB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36914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3">
            <a:extLst>
              <a:ext uri="{FF2B5EF4-FFF2-40B4-BE49-F238E27FC236}">
                <a16:creationId xmlns:a16="http://schemas.microsoft.com/office/drawing/2014/main" xmlns="" id="{1492A9FC-B09C-4810-8365-98DE82B768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535666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3">
            <a:extLst>
              <a:ext uri="{FF2B5EF4-FFF2-40B4-BE49-F238E27FC236}">
                <a16:creationId xmlns:a16="http://schemas.microsoft.com/office/drawing/2014/main" xmlns="" id="{F632B478-160D-44F9-AA24-81D0E6CD92B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34415" y="1595883"/>
            <a:ext cx="2434244" cy="1965960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3">
            <a:extLst>
              <a:ext uri="{FF2B5EF4-FFF2-40B4-BE49-F238E27FC236}">
                <a16:creationId xmlns:a16="http://schemas.microsoft.com/office/drawing/2014/main" xmlns="" id="{3AABAF6D-D07B-4231-B64C-E6F1A1A2126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937887" y="1595883"/>
            <a:ext cx="2434244" cy="1965960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556639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9573" y="2179124"/>
            <a:ext cx="4102211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6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976970" y="1879601"/>
            <a:ext cx="4647420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0217" y="2179124"/>
            <a:ext cx="4102211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6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endParaRPr lang="fr-FR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6567614" y="1879601"/>
            <a:ext cx="4647420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7303" y="1780975"/>
            <a:ext cx="1906752" cy="207749"/>
          </a:xfrm>
          <a:solidFill>
            <a:schemeClr val="bg1"/>
          </a:solidFill>
        </p:spPr>
        <p:txBody>
          <a:bodyPr vert="horz" wrap="squar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37947" y="1782691"/>
            <a:ext cx="1906752" cy="207749"/>
          </a:xfrm>
          <a:solidFill>
            <a:schemeClr val="bg1"/>
          </a:solidFill>
        </p:spPr>
        <p:txBody>
          <a:bodyPr wrap="squar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3EEC9DDD-F99F-4E9F-8C14-38FD1338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1239842B-0272-45B1-A058-21480D9D5B0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8D7FB2E8-0C6C-49DC-8B0A-39C9FC718A3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9620D52A-0CDF-4DD5-99A8-8A00B2D9D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86865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9909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6848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8608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4335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7307" y="2179124"/>
            <a:ext cx="2934784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/>
            </a:lvl1pPr>
            <a:lvl2pPr>
              <a:spcBef>
                <a:spcPts val="0"/>
              </a:spcBef>
              <a:spcAft>
                <a:spcPts val="151"/>
              </a:spcAft>
              <a:defRPr sz="1200"/>
            </a:lvl2pPr>
            <a:lvl3pPr>
              <a:spcBef>
                <a:spcPts val="0"/>
              </a:spcBef>
              <a:spcAft>
                <a:spcPts val="151"/>
              </a:spcAft>
              <a:defRPr sz="1100"/>
            </a:lvl3pPr>
            <a:lvl4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4pPr>
            <a:lvl5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8182283" y="1879601"/>
            <a:ext cx="3324836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27608" y="1780975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algn="ctr"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76307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25004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xmlns="" id="{1E48765A-689D-417A-B205-42E7565BA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xmlns="" id="{36D33941-DC46-46CB-BDDE-A1B814B59AC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0163C33-2D0A-49C8-A411-B91090E4D09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xmlns="" id="{23C5D678-C990-44AE-9DFD-7A30E8BA9C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71045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0495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9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6612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3167595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12728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963711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908843" y="2179124"/>
            <a:ext cx="224241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8759826" y="1879601"/>
            <a:ext cx="2540447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2007" y="1780975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8123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4239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10352" y="1782691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18F260CF-BB61-46DE-A37E-2025C421D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53768FA1-ACA5-4750-928A-17060828453E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57A5FC0-0A7B-4D47-BFB3-BDD2367B68B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xmlns="" id="{A1F73ADC-9A9C-419D-AB64-9F526682F9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66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8235863" y="2884129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4994" y="3434277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793291" y="2886215"/>
            <a:ext cx="2624204" cy="2549047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2419" y="3436364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323583" y="2873690"/>
            <a:ext cx="2624204" cy="2549047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2714" y="3423831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5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129950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5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867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504827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05648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2779608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8727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5022684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AC6F0435-88D5-4E10-8C92-992B9D5600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23511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918289D-38E7-4748-A193-E08E20B9A405}"/>
              </a:ext>
            </a:extLst>
          </p:cNvPr>
          <p:cNvSpPr/>
          <p:nvPr userDrawn="1"/>
        </p:nvSpPr>
        <p:spPr>
          <a:xfrm>
            <a:off x="7297470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03247" y="1780974"/>
            <a:ext cx="751901" cy="238903"/>
          </a:xfrm>
          <a:solidFill>
            <a:schemeClr val="bg1"/>
          </a:solidFill>
        </p:spPr>
        <p:txBody>
          <a:bodyPr vert="horz" wrap="none" lIns="143992" tIns="35998" rIns="143992" bIns="35998" rtlCol="0">
            <a:spAutoFit/>
          </a:bodyPr>
          <a:lstStyle>
            <a:lvl1pPr marL="0" algn="ctr">
              <a:buFont typeface="Arial" panose="020B0604020202020204" pitchFamily="34" charset="0"/>
              <a:buNone/>
              <a:defRPr lang="fr-FR" sz="12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1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5355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8434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xmlns="" id="{D530ECF2-DBEB-418B-802E-BF7F3089CC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3217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321467ED-4221-4B7D-9F6F-F032B12914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697771" y="2179124"/>
            <a:ext cx="1896663" cy="325540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A233268-5577-464C-ADBD-669E59C91B8B}"/>
              </a:ext>
            </a:extLst>
          </p:cNvPr>
          <p:cNvSpPr/>
          <p:nvPr userDrawn="1"/>
        </p:nvSpPr>
        <p:spPr>
          <a:xfrm>
            <a:off x="9571730" y="1879601"/>
            <a:ext cx="2148743" cy="3854451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1600">
              <a:solidFill>
                <a:prstClr val="white"/>
              </a:solidFill>
            </a:endParaRP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587FB0BE-1A02-4E5D-A3B2-37D4FC2394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37477" y="1782688"/>
            <a:ext cx="617249" cy="238903"/>
          </a:xfrm>
          <a:solidFill>
            <a:schemeClr val="bg1"/>
          </a:solidFill>
        </p:spPr>
        <p:txBody>
          <a:bodyPr wrap="none" lIns="143992" tIns="35998" rIns="143992" bIns="35998">
            <a:spAutoFit/>
          </a:bodyPr>
          <a:lstStyle>
            <a:lvl1pPr marL="0" algn="ctr">
              <a:buFont typeface="Arial" panose="020B0604020202020204" pitchFamily="34" charset="0"/>
              <a:buNone/>
              <a:defRPr sz="12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</a:t>
            </a:r>
          </a:p>
        </p:txBody>
      </p:sp>
      <p:sp>
        <p:nvSpPr>
          <p:cNvPr id="34" name="Espace réservé du numéro de diapositive 5">
            <a:extLst>
              <a:ext uri="{FF2B5EF4-FFF2-40B4-BE49-F238E27FC236}">
                <a16:creationId xmlns:a16="http://schemas.microsoft.com/office/drawing/2014/main" xmlns="" id="{EA0FC403-A8DF-43F1-8C26-9DCA4FBCF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5" name="Espace réservé de la date 3">
            <a:extLst>
              <a:ext uri="{FF2B5EF4-FFF2-40B4-BE49-F238E27FC236}">
                <a16:creationId xmlns:a16="http://schemas.microsoft.com/office/drawing/2014/main" xmlns="" id="{553741E0-271C-436E-ABD6-FA321384D65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382903D-C376-4E4D-AB0D-22000396EBE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pied de page 4">
            <a:extLst>
              <a:ext uri="{FF2B5EF4-FFF2-40B4-BE49-F238E27FC236}">
                <a16:creationId xmlns:a16="http://schemas.microsoft.com/office/drawing/2014/main" xmlns="" id="{D27EEDC4-D15C-4687-9736-24E43ECE9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074228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6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501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614760D-6165-4EAB-AEC6-438365493C9F}"/>
              </a:ext>
            </a:extLst>
          </p:cNvPr>
          <p:cNvSpPr/>
          <p:nvPr userDrawn="1"/>
        </p:nvSpPr>
        <p:spPr>
          <a:xfrm>
            <a:off x="3714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5C32AE66-7384-4C44-87D6-7E88AF5161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200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C4F00DD-FD1B-45C6-A764-53E6F25646DA}"/>
              </a:ext>
            </a:extLst>
          </p:cNvPr>
          <p:cNvSpPr/>
          <p:nvPr userDrawn="1"/>
        </p:nvSpPr>
        <p:spPr>
          <a:xfrm>
            <a:off x="41201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xmlns="" id="{030E0F7A-B8F1-4DB8-B3A3-352BBD4CC7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63899" y="1883107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4D067A5-5E07-4F50-9D0A-A19325FBC24F}"/>
              </a:ext>
            </a:extLst>
          </p:cNvPr>
          <p:cNvSpPr/>
          <p:nvPr userDrawn="1"/>
        </p:nvSpPr>
        <p:spPr>
          <a:xfrm>
            <a:off x="7868875" y="1583585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6">
            <a:extLst>
              <a:ext uri="{FF2B5EF4-FFF2-40B4-BE49-F238E27FC236}">
                <a16:creationId xmlns:a16="http://schemas.microsoft.com/office/drawing/2014/main" xmlns="" id="{1CC3FE1E-5715-4093-84BB-CA226518A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14199" y="1484956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xmlns="" id="{183F9738-F20D-44CE-83E1-3C139DCC86F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62899" y="1486674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xmlns="" id="{515CFA66-93F6-4823-9CC3-4E10DCFAB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11596" y="1486674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xmlns="" id="{D94E3463-9ACA-4049-939B-F27A7DE04C5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6501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50377FF-25D5-4799-89B6-E6BCD8E32BE7}"/>
              </a:ext>
            </a:extLst>
          </p:cNvPr>
          <p:cNvSpPr/>
          <p:nvPr userDrawn="1"/>
        </p:nvSpPr>
        <p:spPr>
          <a:xfrm>
            <a:off x="3714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5895C22A-334A-45F8-932B-AD212BA6AD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15200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A432CB35-F286-4D72-9CC6-361EC6A0BB5F}"/>
              </a:ext>
            </a:extLst>
          </p:cNvPr>
          <p:cNvSpPr/>
          <p:nvPr userDrawn="1"/>
        </p:nvSpPr>
        <p:spPr>
          <a:xfrm>
            <a:off x="41201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FD034F29-877D-42C2-8352-1CB749A316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63899" y="4096182"/>
            <a:ext cx="2934784" cy="137370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9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E73DB45-2E9B-4665-B4E8-5639E5CE647F}"/>
              </a:ext>
            </a:extLst>
          </p:cNvPr>
          <p:cNvSpPr/>
          <p:nvPr userDrawn="1"/>
        </p:nvSpPr>
        <p:spPr>
          <a:xfrm>
            <a:off x="7868875" y="3796659"/>
            <a:ext cx="3324836" cy="1882775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xmlns="" id="{BD8D115A-981D-4FC4-8DCF-D948FCF20E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14199" y="3698031"/>
            <a:ext cx="1439389" cy="207749"/>
          </a:xfrm>
          <a:solidFill>
            <a:schemeClr val="bg1"/>
          </a:solidFill>
        </p:spPr>
        <p:txBody>
          <a:bodyPr vert="horz" wrap="none" lIns="143992" tIns="0" rIns="143992" bIns="0" rtlCol="0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fr-FR" sz="1500" b="1" dirty="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Item général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3B60C83A-E06D-4227-835F-BC47A67D79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62899" y="3699748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1E36E258-E285-4328-8895-C4D31AA53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11596" y="3699748"/>
            <a:ext cx="1439389" cy="207749"/>
          </a:xfrm>
          <a:solidFill>
            <a:schemeClr val="bg1"/>
          </a:solidFill>
        </p:spPr>
        <p:txBody>
          <a:bodyPr wrap="none" lIns="143992" rIns="143992">
            <a:sp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1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Item général</a:t>
            </a:r>
          </a:p>
        </p:txBody>
      </p:sp>
      <p:sp>
        <p:nvSpPr>
          <p:cNvPr id="32" name="Espace réservé du numéro de diapositive 5">
            <a:extLst>
              <a:ext uri="{FF2B5EF4-FFF2-40B4-BE49-F238E27FC236}">
                <a16:creationId xmlns:a16="http://schemas.microsoft.com/office/drawing/2014/main" xmlns="" id="{9A025995-109B-46D3-AC52-D7A1F6005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3" name="Espace réservé de la date 3">
            <a:extLst>
              <a:ext uri="{FF2B5EF4-FFF2-40B4-BE49-F238E27FC236}">
                <a16:creationId xmlns:a16="http://schemas.microsoft.com/office/drawing/2014/main" xmlns="" id="{19A1180D-1118-4BF7-A2E3-96C2E6301ABA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A82EEA7-80B3-4966-916B-0DDE46CAA0C2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5C17D925-A7B1-458F-A1E9-A346AB688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65877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2"/>
            <a:ext cx="4820919" cy="34163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83062B0E-A600-4835-9DFC-73F1A1B87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B0ED8801-5D98-4A55-B77F-7A8F2011D57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08AFE9C-1FA2-4738-857A-427828C1B06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C2B70E01-CF54-44D4-BC26-1F3205B1B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813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6" y="4216002"/>
            <a:ext cx="4817744" cy="1706751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1"/>
            <a:ext cx="4820919" cy="1981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178" y="4119053"/>
            <a:ext cx="1162847" cy="193899"/>
          </a:xfrm>
          <a:solidFill>
            <a:schemeClr val="bg1"/>
          </a:solidFill>
        </p:spPr>
        <p:txBody>
          <a:bodyPr vert="horz" wrap="none" lIns="143992" tIns="0" rIns="143992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5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8E0F355-0068-4476-917E-2D06677C643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344430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CONCLU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7C5F1180-294E-4E78-A34D-6F88896DA6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523" y="4042478"/>
            <a:ext cx="5256000" cy="1560913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4" y="657226"/>
            <a:ext cx="4820917" cy="585788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300" y="1879600"/>
            <a:ext cx="4820919" cy="372378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5521" y="666751"/>
            <a:ext cx="5256000" cy="30099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xmlns="" id="{5FE2BE6A-DA9B-48DE-A368-DCDC1CEA4A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0223" y="3945529"/>
            <a:ext cx="1162847" cy="193899"/>
          </a:xfrm>
          <a:solidFill>
            <a:schemeClr val="bg1"/>
          </a:solidFill>
        </p:spPr>
        <p:txBody>
          <a:bodyPr vert="horz" wrap="none" lIns="143992" tIns="0" rIns="143992" bIns="0" rtlCol="0">
            <a:noAutofit/>
          </a:bodyPr>
          <a:lstStyle>
            <a:lvl1pPr algn="l">
              <a:spcBef>
                <a:spcPts val="0"/>
              </a:spcBef>
              <a:spcAft>
                <a:spcPts val="0"/>
              </a:spcAft>
              <a:buNone/>
              <a:defRPr lang="fr-FR" sz="1500" dirty="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 algn="ctr"/>
            <a:r>
              <a:rPr lang="fr-FR" dirty="0"/>
              <a:t>Conclusion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C04DAB1B-5746-4C5F-8F81-3D5E4411EA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F94BCD5F-C871-4B77-B0F1-AB37804F5C4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C307C9E-02F3-4585-BCF9-CA1E3D28B30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920B7BF7-8629-4C56-8A8A-4D5349DDC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11363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2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3" y="3429000"/>
            <a:ext cx="2493751" cy="2493751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xmlns="" id="{354CA686-853A-49BE-994E-C26C09AE0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7" y="1421607"/>
            <a:ext cx="3673631" cy="585788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9B8B82FC-05E9-41E4-8F25-7FBD5D556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1280DC01-475F-4F13-865D-090CC898CED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7AAECC4-1086-4368-BFFE-D8E610F18A6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BCC249D-9560-4008-B462-13DCED53E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xmlns="" id="{156C9985-F2D1-4196-AA41-E499F41E7E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7831" y="3429000"/>
            <a:ext cx="4810943" cy="2493751"/>
          </a:xfrm>
          <a:ln w="12700">
            <a:solidFill>
              <a:schemeClr val="bg2"/>
            </a:solidFill>
          </a:ln>
        </p:spPr>
        <p:txBody>
          <a:bodyPr lIns="323984" tIns="287986" bIns="179992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2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75848359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3 VISU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045" y="1421607"/>
            <a:ext cx="3155035" cy="585788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3AF7E084-D00A-4E22-AA01-BF98D511A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40844" y="3736978"/>
            <a:ext cx="2631632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151"/>
              </a:spcAft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7773" y="3429000"/>
            <a:ext cx="2493751" cy="249375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endParaRPr lang="fr-FR"/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7462F80A-A2C9-44CA-BBE4-4C7CD3FBCE0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98771" y="0"/>
            <a:ext cx="3429000" cy="3429000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  11">
            <a:extLst>
              <a:ext uri="{FF2B5EF4-FFF2-40B4-BE49-F238E27FC236}">
                <a16:creationId xmlns:a16="http://schemas.microsoft.com/office/drawing/2014/main" xmlns="" id="{2C52405C-61DF-46D2-8B1C-E3716825133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3429000"/>
            <a:ext cx="5398771" cy="2493751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EF7C3C81-A9A3-4093-84AB-C2BD0996681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96375" y="950122"/>
            <a:ext cx="2206096" cy="2185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1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5" name="Espace réservé du numéro de diapositive 5">
            <a:extLst>
              <a:ext uri="{FF2B5EF4-FFF2-40B4-BE49-F238E27FC236}">
                <a16:creationId xmlns:a16="http://schemas.microsoft.com/office/drawing/2014/main" xmlns="" id="{7D6FF774-0512-467F-8CD1-D519C1B03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xmlns="" id="{B0D311CF-ED68-4215-99C8-4828A86C904F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BC6773-668F-4BA9-A8EE-7338EAA19F5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A59DA522-7C45-43B1-9458-4DE640CD5E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689441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82335A1-7FE9-43F5-A487-E7D2E0B3B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5CF9ACA-831F-4CA4-AD72-7F19D5F1C507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B9221D8-1213-4B2F-8747-EBF7FA17425D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AA69D735-D3CD-46B2-B05D-86AB9508A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024226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8216653B-2BDA-47D1-BC68-C19CC951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B415A82-8327-4329-A49E-8394818922B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110FD9F-953F-4509-8FF0-02297AB1C83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6140D74F-7698-47CC-8A05-A0C8399171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9828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33E8A052-A182-4F18-9BBC-2129CA378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3124805-097A-4ABA-B593-A1A123D835B6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CA238CAD-79AF-48F7-BB23-9911D42E59E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99A7F8D-8D88-4AA1-A0BE-DAFB6807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2557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8235863" y="1837349"/>
            <a:ext cx="2624204" cy="3595819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6329" y="1241972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454597" y="2073359"/>
            <a:ext cx="2159227" cy="278675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793291" y="1839433"/>
            <a:ext cx="2624204" cy="3595819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3758" y="1244058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012025" y="2075447"/>
            <a:ext cx="2159227" cy="278675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323583" y="1826909"/>
            <a:ext cx="2624204" cy="3595819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4050" y="1231533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542317" y="2062921"/>
            <a:ext cx="2159227" cy="278675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713602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BLE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fr-FR" sz="36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2B228D2A-2335-4643-90C9-DD6FF5055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ED1A571A-CBE8-4881-ABD1-4BCAC137469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152D296-81F9-4E42-B67F-EFAC7396747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1E29EE87-B116-41F4-A712-68A02D40D0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53875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ROU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116653B-55A6-4F5E-BF95-BBAF6C6D8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AA7FE348-38F0-4E6F-8889-A2AB77B70F54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E542FDD-04DD-4FDC-A4EE-0E64FE7FA877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D7CB8AEF-F03E-47B2-85A7-9B80F0AAAA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923927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SAUM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57E53C9A-5A7F-4312-8F2E-8CA52F57A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D2B20E5-A849-45CF-959C-F8EE48D94899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37F3D81-B307-494A-A2E4-4DEC7868002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C20C4CBF-CA3E-4CA2-AC47-94B3C79F1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363714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DE6A90EF-E97F-4131-86C7-2F3F70B8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001C3067-BB73-4D16-B033-131E67A4725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F33FBBA-B60D-4378-8F1E-17DE01CB9681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451C0F61-606D-4320-B3DE-897A4AA7B5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4485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1EBF4A-74DE-41F6-BE87-25BEE8A7510C}"/>
              </a:ext>
            </a:extLst>
          </p:cNvPr>
          <p:cNvSpPr/>
          <p:nvPr userDrawn="1"/>
        </p:nvSpPr>
        <p:spPr>
          <a:xfrm>
            <a:off x="266702" y="285750"/>
            <a:ext cx="9548812" cy="5643563"/>
          </a:xfrm>
          <a:prstGeom prst="rect">
            <a:avLst/>
          </a:prstGeom>
          <a:solidFill>
            <a:srgbClr val="A7BD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xmlns="" id="{A4C2DD3A-E127-4C0F-B3ED-9029A76A8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777" y="2671763"/>
            <a:ext cx="6979595" cy="585788"/>
          </a:xfrm>
        </p:spPr>
        <p:txBody>
          <a:bodyPr anchor="ctr"/>
          <a:lstStyle>
            <a:lvl1pPr>
              <a:defRPr lang="fr-FR" sz="3600" b="1" kern="12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fr-FR" dirty="0"/>
              <a:t>Grande idée / annonc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AA94C3E5-18EB-4A28-838F-3E3F96E40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FAAA1E24-FAEF-45E8-B870-5F8B9A091361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3BBFFCF-B978-464E-8636-3279A2F1BFE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A9946FCE-F75B-4EE3-B80C-A58F852F7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29822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047" y="2543923"/>
            <a:ext cx="3631828" cy="585788"/>
          </a:xfrm>
        </p:spPr>
        <p:txBody>
          <a:bodyPr anchor="ctr">
            <a:noAutofit/>
          </a:bodyPr>
          <a:lstStyle>
            <a:lvl1pPr>
              <a:defRPr sz="36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1321" y="1720849"/>
            <a:ext cx="4526635" cy="3550557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Font typeface="Wingdings" panose="05000000000000000000" pitchFamily="2" charset="2"/>
              <a:buChar char="§"/>
              <a:defRPr sz="1500">
                <a:solidFill>
                  <a:schemeClr val="tx2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Font typeface="Segoe UI" panose="020B0502040204020203" pitchFamily="34" charset="0"/>
              <a:buChar char="&gt;"/>
              <a:defRPr sz="11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84EB6C3-5F57-47CF-8AA0-FE63A043391E}"/>
              </a:ext>
            </a:extLst>
          </p:cNvPr>
          <p:cNvSpPr/>
          <p:nvPr userDrawn="1"/>
        </p:nvSpPr>
        <p:spPr>
          <a:xfrm>
            <a:off x="200512" y="210315"/>
            <a:ext cx="5471109" cy="5061095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B902C9D-F588-4490-B0E7-46B100E6C4F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9440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bg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70D4B9AE-739D-4EDA-9B81-FE172E5B6A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96965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bg1">
              <a:lumMod val="95000"/>
            </a:schemeClr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6A9CDD96-0EE6-463D-9644-6A585BB9748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017199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tx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347D4D3-BC04-4844-987A-422F19BAA3A3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780476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2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EC14240-0F8F-4CB5-82CA-20DFC97DEC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2368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6775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Rectangle 30"/>
          <p:cNvSpPr/>
          <p:nvPr userDrawn="1"/>
        </p:nvSpPr>
        <p:spPr>
          <a:xfrm>
            <a:off x="1029436" y="2016480"/>
            <a:ext cx="4564263" cy="341416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53005" y="1465442"/>
            <a:ext cx="289759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2848779" y="2229050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887DB096-DCE0-A342-8E02-A4618CDF10F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248165" y="2230607"/>
            <a:ext cx="1482971" cy="881063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xmlns="" id="{2D4180AB-5343-6540-B1EA-5CC76B5EE81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48779" y="3297007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pour une image  2">
            <a:extLst>
              <a:ext uri="{FF2B5EF4-FFF2-40B4-BE49-F238E27FC236}">
                <a16:creationId xmlns:a16="http://schemas.microsoft.com/office/drawing/2014/main" xmlns="" id="{BF9C246E-0B2F-424E-A9B6-63D6A2C8687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48165" y="3298565"/>
            <a:ext cx="1482971" cy="881063"/>
          </a:xfrm>
        </p:spPr>
        <p:txBody>
          <a:bodyPr/>
          <a:lstStyle/>
          <a:p>
            <a:endParaRPr lang="fr-FR"/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xmlns="" id="{C348EB0E-16C5-954B-A1B9-AAB8182EADB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848779" y="4321611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  2">
            <a:extLst>
              <a:ext uri="{FF2B5EF4-FFF2-40B4-BE49-F238E27FC236}">
                <a16:creationId xmlns:a16="http://schemas.microsoft.com/office/drawing/2014/main" xmlns="" id="{CFE24D96-9CCF-B44D-816C-CEFE75CA66D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248165" y="4323170"/>
            <a:ext cx="1482971" cy="881063"/>
          </a:xfrm>
        </p:spPr>
        <p:txBody>
          <a:bodyPr/>
          <a:lstStyle/>
          <a:p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0D0ABA7-0DE0-7D41-8117-477FE4BB823F}"/>
              </a:ext>
            </a:extLst>
          </p:cNvPr>
          <p:cNvSpPr/>
          <p:nvPr userDrawn="1"/>
        </p:nvSpPr>
        <p:spPr>
          <a:xfrm>
            <a:off x="6556230" y="2016480"/>
            <a:ext cx="4564263" cy="3414165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0" name="Espace réservé du texte 7">
            <a:extLst>
              <a:ext uri="{FF2B5EF4-FFF2-40B4-BE49-F238E27FC236}">
                <a16:creationId xmlns:a16="http://schemas.microsoft.com/office/drawing/2014/main" xmlns="" id="{5D7EC3B0-2DAC-3241-824B-4662DFA5AC2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379793" y="1465442"/>
            <a:ext cx="289759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xmlns="" id="{CE76A145-1450-D545-B407-466CE9C0F21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375567" y="2229050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pour une image  2">
            <a:extLst>
              <a:ext uri="{FF2B5EF4-FFF2-40B4-BE49-F238E27FC236}">
                <a16:creationId xmlns:a16="http://schemas.microsoft.com/office/drawing/2014/main" xmlns="" id="{950CC68C-6B96-8A45-8547-95B7C595F5B9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6774953" y="2230607"/>
            <a:ext cx="1482971" cy="881063"/>
          </a:xfrm>
        </p:spPr>
        <p:txBody>
          <a:bodyPr/>
          <a:lstStyle/>
          <a:p>
            <a:endParaRPr lang="fr-FR"/>
          </a:p>
        </p:txBody>
      </p:sp>
      <p:sp>
        <p:nvSpPr>
          <p:cNvPr id="26" name="Espace réservé du texte 10">
            <a:extLst>
              <a:ext uri="{FF2B5EF4-FFF2-40B4-BE49-F238E27FC236}">
                <a16:creationId xmlns:a16="http://schemas.microsoft.com/office/drawing/2014/main" xmlns="" id="{1F4939B1-1019-2D49-A3F4-B66BD9CC0A9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375567" y="3297007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pour une image  2">
            <a:extLst>
              <a:ext uri="{FF2B5EF4-FFF2-40B4-BE49-F238E27FC236}">
                <a16:creationId xmlns:a16="http://schemas.microsoft.com/office/drawing/2014/main" xmlns="" id="{40ACC748-CB17-3D4D-9731-18E56DD03FD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774953" y="3298565"/>
            <a:ext cx="1482971" cy="881063"/>
          </a:xfrm>
        </p:spPr>
        <p:txBody>
          <a:bodyPr/>
          <a:lstStyle/>
          <a:p>
            <a:endParaRPr lang="fr-FR"/>
          </a:p>
        </p:txBody>
      </p:sp>
      <p:sp>
        <p:nvSpPr>
          <p:cNvPr id="28" name="Espace réservé du texte 10">
            <a:extLst>
              <a:ext uri="{FF2B5EF4-FFF2-40B4-BE49-F238E27FC236}">
                <a16:creationId xmlns:a16="http://schemas.microsoft.com/office/drawing/2014/main" xmlns="" id="{33C7DBF9-10AA-A44D-80B1-D096D26A86C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375567" y="4321611"/>
            <a:ext cx="2497872" cy="88106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pour une image  2">
            <a:extLst>
              <a:ext uri="{FF2B5EF4-FFF2-40B4-BE49-F238E27FC236}">
                <a16:creationId xmlns:a16="http://schemas.microsoft.com/office/drawing/2014/main" xmlns="" id="{8F8EAF8A-223B-D24D-9BA0-93B43D51756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774953" y="4323170"/>
            <a:ext cx="1482971" cy="881063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86367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1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FB292E6D-8575-453D-A69A-31B36D6BDCC9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48371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3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3177B917-83E3-4E35-A0F7-16F12EBF560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27003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4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0A5F53E1-7706-4B28-825A-24186F29E96E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341684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chemeClr val="accent5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500">
                <a:solidFill>
                  <a:schemeClr val="bg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bg1"/>
              </a:buClr>
              <a:buFont typeface="Segoe UI" panose="020B0502040204020203" pitchFamily="34" charset="0"/>
              <a:buChar char="&gt;"/>
              <a:defRPr sz="11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3D6A0A4-ACEF-420D-8DFD-E4AD87D3E68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47549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xmlns="" id="{C81715DF-6F30-45A8-9E6B-4F6D3DB09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tx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xmlns="" id="{4E168513-1381-459C-BCC1-3593A393C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99044" y="1151068"/>
            <a:ext cx="5507061" cy="4658061"/>
          </a:xfrm>
          <a:solidFill>
            <a:srgbClr val="A7BDB1"/>
          </a:solidFill>
        </p:spPr>
        <p:txBody>
          <a:bodyPr lIns="719965" tIns="719965" rIns="719965" bIns="719965" anchor="t">
            <a:noAutofit/>
          </a:bodyPr>
          <a:lstStyle>
            <a:lvl1pPr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742913" indent="-285737"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1200091" indent="-285737">
              <a:spcBef>
                <a:spcPts val="0"/>
              </a:spcBef>
              <a:spcAft>
                <a:spcPts val="151"/>
              </a:spcAft>
              <a:buClr>
                <a:schemeClr val="tx1"/>
              </a:buClr>
              <a:buFont typeface="Segoe UI" panose="020B0502040204020203" pitchFamily="34" charset="0"/>
              <a:buChar char="&gt;"/>
              <a:defRPr sz="11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DD7BECB-E934-4546-ACC1-FD6083AE0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08BE4882-2F15-477E-BDEF-642958E0A91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972B0FEA-57DE-4476-A696-A353C8BC5F70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074A5240-BC75-473F-8084-49D2F6A590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44914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E IDEE +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56812" y="666751"/>
            <a:ext cx="5256000" cy="52560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6BCB9C2E-4BB8-4A2C-8E57-3CCAD3E19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xmlns="" id="{060FBA99-70DE-44BB-8D8B-C84D4AE0CFD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506EDFF-BCD6-43D3-8E2C-73178F1678D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94474D95-19F6-4BAE-9650-659E53303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A460B440-F609-4C24-9142-05BF8B9C8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657227"/>
            <a:ext cx="4770368" cy="3682461"/>
          </a:xfrm>
          <a:ln w="19050">
            <a:solidFill>
              <a:schemeClr val="bg2"/>
            </a:solidFill>
          </a:ln>
        </p:spPr>
        <p:txBody>
          <a:bodyPr lIns="719965" tIns="719965" rIns="719965" bIns="719965" anchor="ctr">
            <a:noAutofit/>
          </a:bodyPr>
          <a:lstStyle>
            <a:lvl1pPr>
              <a:defRPr sz="3200" b="0"/>
            </a:lvl1pPr>
          </a:lstStyle>
          <a:p>
            <a:r>
              <a:rPr lang="fr-FR" dirty="0"/>
              <a:t>Grande idée / annonce à développer dans le texte de droite</a:t>
            </a:r>
          </a:p>
        </p:txBody>
      </p:sp>
    </p:spTree>
    <p:extLst>
      <p:ext uri="{BB962C8B-B14F-4D97-AF65-F5344CB8AC3E}">
        <p14:creationId xmlns:p14="http://schemas.microsoft.com/office/powerpoint/2010/main" val="428470001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ION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llipse 28">
            <a:extLst>
              <a:ext uri="{FF2B5EF4-FFF2-40B4-BE49-F238E27FC236}">
                <a16:creationId xmlns:a16="http://schemas.microsoft.com/office/drawing/2014/main" xmlns="" id="{90FB0429-B5AE-4824-90BB-D99D7B0C0392}"/>
              </a:ext>
            </a:extLst>
          </p:cNvPr>
          <p:cNvSpPr/>
          <p:nvPr userDrawn="1"/>
        </p:nvSpPr>
        <p:spPr>
          <a:xfrm>
            <a:off x="5467352" y="1841254"/>
            <a:ext cx="1257299" cy="125729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xmlns="" id="{C0089071-BA67-4A39-9621-92CD520E46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3" y="2688979"/>
            <a:ext cx="4166185" cy="2951256"/>
          </a:xfrm>
          <a:custGeom>
            <a:avLst/>
            <a:gdLst>
              <a:gd name="connsiteX0" fmla="*/ 587200 w 4166185"/>
              <a:gd name="connsiteY0" fmla="*/ 0 h 2951256"/>
              <a:gd name="connsiteX1" fmla="*/ 4166185 w 4166185"/>
              <a:gd name="connsiteY1" fmla="*/ 0 h 2951256"/>
              <a:gd name="connsiteX2" fmla="*/ 4166185 w 4166185"/>
              <a:gd name="connsiteY2" fmla="*/ 2951256 h 2951256"/>
              <a:gd name="connsiteX3" fmla="*/ 0 w 4166185"/>
              <a:gd name="connsiteY3" fmla="*/ 2951256 h 2951256"/>
              <a:gd name="connsiteX4" fmla="*/ 0 w 4166185"/>
              <a:gd name="connsiteY4" fmla="*/ 409575 h 2951256"/>
              <a:gd name="connsiteX5" fmla="*/ 126694 w 4166185"/>
              <a:gd name="connsiteY5" fmla="*/ 396803 h 2951256"/>
              <a:gd name="connsiteX6" fmla="*/ 579246 w 4166185"/>
              <a:gd name="connsiteY6" fmla="*/ 25625 h 295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6185" h="2951256">
                <a:moveTo>
                  <a:pt x="587200" y="0"/>
                </a:moveTo>
                <a:lnTo>
                  <a:pt x="4166185" y="0"/>
                </a:lnTo>
                <a:lnTo>
                  <a:pt x="4166185" y="2951256"/>
                </a:lnTo>
                <a:lnTo>
                  <a:pt x="0" y="2951256"/>
                </a:lnTo>
                <a:lnTo>
                  <a:pt x="0" y="409575"/>
                </a:lnTo>
                <a:lnTo>
                  <a:pt x="126694" y="396803"/>
                </a:lnTo>
                <a:cubicBezTo>
                  <a:pt x="331312" y="354932"/>
                  <a:pt x="499717" y="213651"/>
                  <a:pt x="579246" y="256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r">
              <a:buNone/>
              <a:defRPr sz="1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xmlns="" id="{2909E62E-9425-481C-9AD1-B5F130F0EB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01165" y="2"/>
            <a:ext cx="4794835" cy="4448175"/>
          </a:xfrm>
          <a:custGeom>
            <a:avLst/>
            <a:gdLst>
              <a:gd name="connsiteX0" fmla="*/ 0 w 4794834"/>
              <a:gd name="connsiteY0" fmla="*/ 0 h 4448174"/>
              <a:gd name="connsiteX1" fmla="*/ 4794834 w 4794834"/>
              <a:gd name="connsiteY1" fmla="*/ 0 h 4448174"/>
              <a:gd name="connsiteX2" fmla="*/ 4794834 w 4794834"/>
              <a:gd name="connsiteY2" fmla="*/ 1841255 h 4448174"/>
              <a:gd name="connsiteX3" fmla="*/ 4166185 w 4794834"/>
              <a:gd name="connsiteY3" fmla="*/ 2469904 h 4448174"/>
              <a:gd name="connsiteX4" fmla="*/ 4794834 w 4794834"/>
              <a:gd name="connsiteY4" fmla="*/ 3098553 h 4448174"/>
              <a:gd name="connsiteX5" fmla="*/ 4794834 w 4794834"/>
              <a:gd name="connsiteY5" fmla="*/ 4448174 h 4448174"/>
              <a:gd name="connsiteX6" fmla="*/ 0 w 4794834"/>
              <a:gd name="connsiteY6" fmla="*/ 4448174 h 4448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94834" h="4448174">
                <a:moveTo>
                  <a:pt x="0" y="0"/>
                </a:moveTo>
                <a:lnTo>
                  <a:pt x="4794834" y="0"/>
                </a:lnTo>
                <a:lnTo>
                  <a:pt x="4794834" y="1841255"/>
                </a:lnTo>
                <a:cubicBezTo>
                  <a:pt x="4447641" y="1841255"/>
                  <a:pt x="4166185" y="2122711"/>
                  <a:pt x="4166185" y="2469904"/>
                </a:cubicBezTo>
                <a:cubicBezTo>
                  <a:pt x="4166185" y="2817097"/>
                  <a:pt x="4447641" y="3098553"/>
                  <a:pt x="4794834" y="3098553"/>
                </a:cubicBezTo>
                <a:lnTo>
                  <a:pt x="4794834" y="4448174"/>
                </a:lnTo>
                <a:lnTo>
                  <a:pt x="0" y="44481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 dirty="0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xmlns="" id="{53533EA2-052E-41F1-A761-FBB9456812F8}"/>
              </a:ext>
            </a:extLst>
          </p:cNvPr>
          <p:cNvSpPr/>
          <p:nvPr/>
        </p:nvSpPr>
        <p:spPr>
          <a:xfrm>
            <a:off x="5817884" y="2250831"/>
            <a:ext cx="556235" cy="438148"/>
          </a:xfrm>
          <a:custGeom>
            <a:avLst/>
            <a:gdLst>
              <a:gd name="connsiteX0" fmla="*/ 8961 w 571500"/>
              <a:gd name="connsiteY0" fmla="*/ 247462 h 419100"/>
              <a:gd name="connsiteX1" fmla="*/ -540 w 571500"/>
              <a:gd name="connsiteY1" fmla="*/ 237906 h 419100"/>
              <a:gd name="connsiteX2" fmla="*/ -540 w 571500"/>
              <a:gd name="connsiteY2" fmla="*/ 9368 h 419100"/>
              <a:gd name="connsiteX3" fmla="*/ 9007 w 571500"/>
              <a:gd name="connsiteY3" fmla="*/ -188 h 419100"/>
              <a:gd name="connsiteX4" fmla="*/ 237317 w 571500"/>
              <a:gd name="connsiteY4" fmla="*/ -188 h 419100"/>
              <a:gd name="connsiteX5" fmla="*/ 246873 w 571500"/>
              <a:gd name="connsiteY5" fmla="*/ 9368 h 419100"/>
              <a:gd name="connsiteX6" fmla="*/ 247110 w 571500"/>
              <a:gd name="connsiteY6" fmla="*/ 247462 h 419100"/>
              <a:gd name="connsiteX7" fmla="*/ 66135 w 571500"/>
              <a:gd name="connsiteY7" fmla="*/ 418912 h 419100"/>
              <a:gd name="connsiteX8" fmla="*/ 66108 w 571500"/>
              <a:gd name="connsiteY8" fmla="*/ 418912 h 419100"/>
              <a:gd name="connsiteX9" fmla="*/ 56610 w 571500"/>
              <a:gd name="connsiteY9" fmla="*/ 409431 h 419100"/>
              <a:gd name="connsiteX10" fmla="*/ 56610 w 571500"/>
              <a:gd name="connsiteY10" fmla="*/ 333143 h 419100"/>
              <a:gd name="connsiteX11" fmla="*/ 66108 w 571500"/>
              <a:gd name="connsiteY11" fmla="*/ 323662 h 419100"/>
              <a:gd name="connsiteX12" fmla="*/ 66135 w 571500"/>
              <a:gd name="connsiteY12" fmla="*/ 323662 h 419100"/>
              <a:gd name="connsiteX13" fmla="*/ 151337 w 571500"/>
              <a:gd name="connsiteY13" fmla="*/ 247462 h 419100"/>
              <a:gd name="connsiteX14" fmla="*/ 8961 w 571500"/>
              <a:gd name="connsiteY14" fmla="*/ 247462 h 419100"/>
              <a:gd name="connsiteX15" fmla="*/ 332811 w 571500"/>
              <a:gd name="connsiteY15" fmla="*/ 247462 h 419100"/>
              <a:gd name="connsiteX16" fmla="*/ 323310 w 571500"/>
              <a:gd name="connsiteY16" fmla="*/ 237906 h 419100"/>
              <a:gd name="connsiteX17" fmla="*/ 323310 w 571500"/>
              <a:gd name="connsiteY17" fmla="*/ 9368 h 419100"/>
              <a:gd name="connsiteX18" fmla="*/ 332857 w 571500"/>
              <a:gd name="connsiteY18" fmla="*/ -188 h 419100"/>
              <a:gd name="connsiteX19" fmla="*/ 561167 w 571500"/>
              <a:gd name="connsiteY19" fmla="*/ -188 h 419100"/>
              <a:gd name="connsiteX20" fmla="*/ 570723 w 571500"/>
              <a:gd name="connsiteY20" fmla="*/ 9368 h 419100"/>
              <a:gd name="connsiteX21" fmla="*/ 570960 w 571500"/>
              <a:gd name="connsiteY21" fmla="*/ 247462 h 419100"/>
              <a:gd name="connsiteX22" fmla="*/ 389985 w 571500"/>
              <a:gd name="connsiteY22" fmla="*/ 418912 h 419100"/>
              <a:gd name="connsiteX23" fmla="*/ 389958 w 571500"/>
              <a:gd name="connsiteY23" fmla="*/ 418912 h 419100"/>
              <a:gd name="connsiteX24" fmla="*/ 380460 w 571500"/>
              <a:gd name="connsiteY24" fmla="*/ 409431 h 419100"/>
              <a:gd name="connsiteX25" fmla="*/ 380460 w 571500"/>
              <a:gd name="connsiteY25" fmla="*/ 333143 h 419100"/>
              <a:gd name="connsiteX26" fmla="*/ 389958 w 571500"/>
              <a:gd name="connsiteY26" fmla="*/ 323662 h 419100"/>
              <a:gd name="connsiteX27" fmla="*/ 389985 w 571500"/>
              <a:gd name="connsiteY27" fmla="*/ 323662 h 419100"/>
              <a:gd name="connsiteX28" fmla="*/ 475187 w 571500"/>
              <a:gd name="connsiteY28" fmla="*/ 247462 h 419100"/>
              <a:gd name="connsiteX29" fmla="*/ 332811 w 571500"/>
              <a:gd name="connsiteY29" fmla="*/ 247462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71500" h="419100">
                <a:moveTo>
                  <a:pt x="8961" y="247462"/>
                </a:moveTo>
                <a:cubicBezTo>
                  <a:pt x="3714" y="247462"/>
                  <a:pt x="-540" y="243164"/>
                  <a:pt x="-540" y="237906"/>
                </a:cubicBezTo>
                <a:lnTo>
                  <a:pt x="-540" y="9368"/>
                </a:lnTo>
                <a:cubicBezTo>
                  <a:pt x="-540" y="4091"/>
                  <a:pt x="3754" y="-188"/>
                  <a:pt x="9007" y="-188"/>
                </a:cubicBezTo>
                <a:lnTo>
                  <a:pt x="237317" y="-188"/>
                </a:lnTo>
                <a:cubicBezTo>
                  <a:pt x="242589" y="-188"/>
                  <a:pt x="246868" y="4110"/>
                  <a:pt x="246873" y="9368"/>
                </a:cubicBezTo>
                <a:lnTo>
                  <a:pt x="247110" y="247462"/>
                </a:lnTo>
                <a:cubicBezTo>
                  <a:pt x="241910" y="342984"/>
                  <a:pt x="162890" y="418912"/>
                  <a:pt x="66135" y="418912"/>
                </a:cubicBezTo>
                <a:lnTo>
                  <a:pt x="66108" y="418912"/>
                </a:lnTo>
                <a:cubicBezTo>
                  <a:pt x="60862" y="418912"/>
                  <a:pt x="56610" y="414572"/>
                  <a:pt x="56610" y="409431"/>
                </a:cubicBezTo>
                <a:lnTo>
                  <a:pt x="56610" y="333143"/>
                </a:lnTo>
                <a:cubicBezTo>
                  <a:pt x="56610" y="327907"/>
                  <a:pt x="60927" y="323662"/>
                  <a:pt x="66108" y="323662"/>
                </a:cubicBezTo>
                <a:lnTo>
                  <a:pt x="66135" y="323662"/>
                </a:lnTo>
                <a:cubicBezTo>
                  <a:pt x="110260" y="323662"/>
                  <a:pt x="146599" y="290324"/>
                  <a:pt x="151337" y="247462"/>
                </a:cubicBezTo>
                <a:lnTo>
                  <a:pt x="8961" y="247462"/>
                </a:lnTo>
                <a:close/>
                <a:moveTo>
                  <a:pt x="332811" y="247462"/>
                </a:moveTo>
                <a:cubicBezTo>
                  <a:pt x="327564" y="247462"/>
                  <a:pt x="323310" y="243164"/>
                  <a:pt x="323310" y="237906"/>
                </a:cubicBezTo>
                <a:lnTo>
                  <a:pt x="323310" y="9368"/>
                </a:lnTo>
                <a:cubicBezTo>
                  <a:pt x="323310" y="4091"/>
                  <a:pt x="327604" y="-188"/>
                  <a:pt x="332857" y="-188"/>
                </a:cubicBezTo>
                <a:lnTo>
                  <a:pt x="561167" y="-188"/>
                </a:lnTo>
                <a:cubicBezTo>
                  <a:pt x="566439" y="-188"/>
                  <a:pt x="570718" y="4110"/>
                  <a:pt x="570723" y="9368"/>
                </a:cubicBezTo>
                <a:lnTo>
                  <a:pt x="570960" y="247462"/>
                </a:lnTo>
                <a:cubicBezTo>
                  <a:pt x="565760" y="342984"/>
                  <a:pt x="486740" y="418912"/>
                  <a:pt x="389985" y="418912"/>
                </a:cubicBezTo>
                <a:lnTo>
                  <a:pt x="389958" y="418912"/>
                </a:lnTo>
                <a:cubicBezTo>
                  <a:pt x="384712" y="418912"/>
                  <a:pt x="380460" y="414572"/>
                  <a:pt x="380460" y="409431"/>
                </a:cubicBezTo>
                <a:lnTo>
                  <a:pt x="380460" y="333143"/>
                </a:lnTo>
                <a:cubicBezTo>
                  <a:pt x="380460" y="327907"/>
                  <a:pt x="384777" y="323662"/>
                  <a:pt x="389958" y="323662"/>
                </a:cubicBezTo>
                <a:lnTo>
                  <a:pt x="389985" y="323662"/>
                </a:lnTo>
                <a:cubicBezTo>
                  <a:pt x="434110" y="323662"/>
                  <a:pt x="470449" y="290324"/>
                  <a:pt x="475187" y="247462"/>
                </a:cubicBezTo>
                <a:lnTo>
                  <a:pt x="332811" y="247462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91436" tIns="45718" rIns="91436" bIns="45718" rtlCol="0" anchor="ctr"/>
          <a:lstStyle/>
          <a:p>
            <a:pPr defTabSz="1219170"/>
            <a:endParaRPr lang="fr-FR" sz="2400">
              <a:solidFill>
                <a:prstClr val="black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0555" y="4739260"/>
            <a:ext cx="3336799" cy="280797"/>
          </a:xfrm>
        </p:spPr>
        <p:txBody>
          <a:bodyPr anchor="b">
            <a:noAutofit/>
          </a:bodyPr>
          <a:lstStyle>
            <a:lvl1pPr algn="r">
              <a:buNone/>
              <a:defRPr sz="2000"/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Citant</a:t>
            </a:r>
          </a:p>
        </p:txBody>
      </p:sp>
      <p:sp>
        <p:nvSpPr>
          <p:cNvPr id="26" name="Espace réservé du texte 6">
            <a:extLst>
              <a:ext uri="{FF2B5EF4-FFF2-40B4-BE49-F238E27FC236}">
                <a16:creationId xmlns:a16="http://schemas.microsoft.com/office/drawing/2014/main" xmlns="" id="{441760C7-EC53-4050-B375-4295D3FDF8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5539" y="5046852"/>
            <a:ext cx="2321815" cy="280797"/>
          </a:xfrm>
        </p:spPr>
        <p:txBody>
          <a:bodyPr>
            <a:noAutofit/>
          </a:bodyPr>
          <a:lstStyle>
            <a:lvl1pPr algn="r">
              <a:buNone/>
              <a:defRPr sz="190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 de la  personne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A94132BA-B2D0-4D4C-B887-32857E9CF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2436" y="3871714"/>
            <a:ext cx="3053312" cy="585788"/>
          </a:xfrm>
        </p:spPr>
        <p:txBody>
          <a:bodyPr anchor="ctr">
            <a:noAutofit/>
          </a:bodyPr>
          <a:lstStyle>
            <a:lvl1pPr>
              <a:defRPr sz="2000"/>
            </a:lvl1pPr>
          </a:lstStyle>
          <a:p>
            <a:r>
              <a:rPr lang="fr-FR" dirty="0"/>
              <a:t>Citation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xmlns="" id="{6E9568A0-91A6-42AC-9EA5-493A1D1A4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344CD52A-E82B-4857-BD43-D0B26BBD2D9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566128BC-4E54-4736-A5DB-6E592FD7ADEF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xmlns="" id="{08921B6F-80BE-4085-9859-40CA1324E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2197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1" y="666749"/>
            <a:ext cx="2762251" cy="2762251"/>
          </a:xfrm>
        </p:spPr>
        <p:txBody>
          <a:bodyPr/>
          <a:lstStyle/>
          <a:p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77A60DA-8122-4AC0-A87B-08B3BC8F9BF9}"/>
              </a:ext>
            </a:extLst>
          </p:cNvPr>
          <p:cNvSpPr/>
          <p:nvPr userDrawn="1"/>
        </p:nvSpPr>
        <p:spPr>
          <a:xfrm>
            <a:off x="1228035" y="3429000"/>
            <a:ext cx="2513543" cy="21046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xmlns="" id="{6D08F63B-CDD0-4546-8221-8EB632249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4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xmlns="" id="{6DA83DA6-E40E-43B0-9E29-D24089E0BC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4" y="4242679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xmlns="" id="{FC5930C0-F4E7-4120-B24C-18F053399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4" y="4799168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5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8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3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9" y="3821715"/>
            <a:ext cx="1690763" cy="2807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9" y="4154045"/>
            <a:ext cx="1690763" cy="1661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51"/>
              </a:spcAft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Espace réservé de la date 3">
            <a:extLst>
              <a:ext uri="{FF2B5EF4-FFF2-40B4-BE49-F238E27FC236}">
                <a16:creationId xmlns:a16="http://schemas.microsoft.com/office/drawing/2014/main" xmlns="" id="{915706E2-0161-432A-88DF-844474267205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E5F968E-918C-4654-8E3D-96935DF56E28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C68A1FAB-0F2E-4190-8527-AE61C36CC5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63399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DE8870E-9685-4F4C-8964-CD4689A4203B}"/>
              </a:ext>
            </a:extLst>
          </p:cNvPr>
          <p:cNvSpPr/>
          <p:nvPr userDrawn="1"/>
        </p:nvSpPr>
        <p:spPr>
          <a:xfrm>
            <a:off x="6616255" y="671513"/>
            <a:ext cx="4689920" cy="5257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0" name="Espace réservé pour une image  11">
            <a:extLst>
              <a:ext uri="{FF2B5EF4-FFF2-40B4-BE49-F238E27FC236}">
                <a16:creationId xmlns:a16="http://schemas.microsoft.com/office/drawing/2014/main" xmlns="" id="{2C6508A7-E550-4E68-A0B0-2D68ADAFF4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80341" y="666749"/>
            <a:ext cx="2762251" cy="2762251"/>
          </a:xfrm>
        </p:spPr>
        <p:txBody>
          <a:bodyPr/>
          <a:lstStyle/>
          <a:p>
            <a:endParaRPr lang="fr-FR"/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xmlns="" id="{B9E86067-E94F-41CA-9FDF-A509B666514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8589" y="1060799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xmlns="" id="{08F9CD76-44C6-4D45-95A6-6FE2A6F93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98589" y="1393128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1" name="Espace réservé du texte 6">
            <a:extLst>
              <a:ext uri="{FF2B5EF4-FFF2-40B4-BE49-F238E27FC236}">
                <a16:creationId xmlns:a16="http://schemas.microsoft.com/office/drawing/2014/main" xmlns="" id="{9DDFD8C8-3242-4447-A13A-930907426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98589" y="3233643"/>
            <a:ext cx="395592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Expériences</a:t>
            </a:r>
          </a:p>
        </p:txBody>
      </p:sp>
      <p:sp>
        <p:nvSpPr>
          <p:cNvPr id="22" name="Espace réservé du texte 6">
            <a:extLst>
              <a:ext uri="{FF2B5EF4-FFF2-40B4-BE49-F238E27FC236}">
                <a16:creationId xmlns:a16="http://schemas.microsoft.com/office/drawing/2014/main" xmlns="" id="{C462FCFE-D7A7-4B80-A63D-19C1F98F44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98589" y="3565968"/>
            <a:ext cx="3955923" cy="280797"/>
          </a:xfrm>
        </p:spPr>
        <p:txBody>
          <a:bodyPr>
            <a:normAutofit/>
          </a:bodyPr>
          <a:lstStyle>
            <a:lvl1pPr marL="0" algn="l"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xmlns="" id="{A8C8BBE8-DDB9-4263-8C89-87FF24E814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57589" y="3821715"/>
            <a:ext cx="1690763" cy="280797"/>
          </a:xfrm>
        </p:spPr>
        <p:txBody>
          <a:bodyPr/>
          <a:lstStyle>
            <a:lvl1pPr marL="0" algn="l">
              <a:buNone/>
              <a:defRPr>
                <a:solidFill>
                  <a:schemeClr val="bg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Formation</a:t>
            </a:r>
          </a:p>
        </p:txBody>
      </p:sp>
      <p:sp>
        <p:nvSpPr>
          <p:cNvPr id="27" name="Espace réservé du texte 6">
            <a:extLst>
              <a:ext uri="{FF2B5EF4-FFF2-40B4-BE49-F238E27FC236}">
                <a16:creationId xmlns:a16="http://schemas.microsoft.com/office/drawing/2014/main" xmlns="" id="{D40E2AC9-EF7F-4426-9227-63F78EAFC2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57589" y="4154045"/>
            <a:ext cx="1690763" cy="166199"/>
          </a:xfrm>
        </p:spPr>
        <p:txBody>
          <a:bodyPr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sentation text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5BAE411-0A22-410B-83F2-CBC4CBA0839A}"/>
              </a:ext>
            </a:extLst>
          </p:cNvPr>
          <p:cNvSpPr/>
          <p:nvPr userDrawn="1"/>
        </p:nvSpPr>
        <p:spPr>
          <a:xfrm>
            <a:off x="1228035" y="3429000"/>
            <a:ext cx="2513543" cy="21046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30" name="Espace réservé du numéro de diapositive 5">
            <a:extLst>
              <a:ext uri="{FF2B5EF4-FFF2-40B4-BE49-F238E27FC236}">
                <a16:creationId xmlns:a16="http://schemas.microsoft.com/office/drawing/2014/main" xmlns="" id="{7E03E7B4-CA50-4BBD-8DBE-9F8757DDF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31" name="Espace réservé de la date 3">
            <a:extLst>
              <a:ext uri="{FF2B5EF4-FFF2-40B4-BE49-F238E27FC236}">
                <a16:creationId xmlns:a16="http://schemas.microsoft.com/office/drawing/2014/main" xmlns="" id="{1BF382F1-AA1E-4CA8-8831-C5105D98934B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2AB88E5C-3B4D-4423-B92E-0043E0849C0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2" name="Espace réservé du texte 6">
            <a:extLst>
              <a:ext uri="{FF2B5EF4-FFF2-40B4-BE49-F238E27FC236}">
                <a16:creationId xmlns:a16="http://schemas.microsoft.com/office/drawing/2014/main" xmlns="" id="{3930505F-D975-4EC4-B884-45C0A5F8EE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42724" y="3924556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33" name="Espace réservé du texte 6">
            <a:extLst>
              <a:ext uri="{FF2B5EF4-FFF2-40B4-BE49-F238E27FC236}">
                <a16:creationId xmlns:a16="http://schemas.microsoft.com/office/drawing/2014/main" xmlns="" id="{629FC540-4EAE-44D8-BB0C-B875E2519B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42724" y="4242679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2000" b="1" cap="all" baseline="0">
                <a:solidFill>
                  <a:schemeClr val="bg1"/>
                </a:solidFill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xmlns="" id="{7BF238C7-E89A-47FB-BE3D-3F2634220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2724" y="4799168"/>
            <a:ext cx="1461733" cy="280797"/>
          </a:xfrm>
        </p:spPr>
        <p:txBody>
          <a:bodyPr>
            <a:noAutofit/>
          </a:bodyPr>
          <a:lstStyle>
            <a:lvl1pPr marL="0" algn="l">
              <a:buNone/>
              <a:defRPr sz="15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algn="r">
              <a:buNone/>
              <a:defRPr/>
            </a:lvl2pPr>
            <a:lvl3pPr algn="r">
              <a:buNone/>
              <a:defRPr/>
            </a:lvl3pPr>
            <a:lvl4pPr algn="r">
              <a:buFont typeface="Arial" panose="020B0604020202020204" pitchFamily="34" charset="0"/>
              <a:buNone/>
              <a:defRPr/>
            </a:lvl4pPr>
            <a:lvl5pPr algn="r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FFB42B9F-E49F-47E7-8B64-6B337AB41F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83544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3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8587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17694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6802" y="1966917"/>
            <a:ext cx="2160580" cy="2385103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24002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107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91127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48200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xmlns="" id="{386229FD-55A1-4852-8D4B-A8779FC41F0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58251" y="4503015"/>
            <a:ext cx="1809751" cy="23775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</a:t>
            </a: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A9DA7FBC-EF80-4A56-8B24-84E51590A56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15325" y="5117312"/>
            <a:ext cx="2895600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A879008A-4DDA-44C1-8ADD-D65E690F09B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24002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9AA9228C-2F11-49A2-BB2D-2C8DF12743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191127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  <a:p>
            <a:pPr lvl="0"/>
            <a:endParaRPr lang="fr-FR" dirty="0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94ABAE55-63BF-4CB7-8DC4-4623FC8C6D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8251" y="4763204"/>
            <a:ext cx="1809751" cy="23775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nom</a:t>
            </a:r>
          </a:p>
        </p:txBody>
      </p:sp>
      <p:sp>
        <p:nvSpPr>
          <p:cNvPr id="21" name="Espace réservé de la date 3">
            <a:extLst>
              <a:ext uri="{FF2B5EF4-FFF2-40B4-BE49-F238E27FC236}">
                <a16:creationId xmlns:a16="http://schemas.microsoft.com/office/drawing/2014/main" xmlns="" id="{1458C19E-454D-4AF8-9E89-589D46CA0A3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E1F17CC7-4E60-482F-A5F3-BE7CCCB8AF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xmlns="" id="{3AB36181-7622-4D92-8C7B-65AFAC2132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5059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183709" y="3013419"/>
            <a:ext cx="2235899" cy="2587444"/>
          </a:xfrm>
          <a:prstGeom prst="rect">
            <a:avLst/>
          </a:prstGeom>
          <a:solidFill>
            <a:schemeClr val="accent6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604471" y="3341522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605599" y="3914652"/>
            <a:ext cx="1417172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716053" y="3013419"/>
            <a:ext cx="2235899" cy="2587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6817" y="3341522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137943" y="3914652"/>
            <a:ext cx="1417172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46313" y="3013419"/>
            <a:ext cx="2235899" cy="2587444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7075" y="3341522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68203" y="3914652"/>
            <a:ext cx="1417172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778657" y="3013419"/>
            <a:ext cx="2235899" cy="258744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199419" y="3341522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9200547" y="3914652"/>
            <a:ext cx="1417172" cy="1314965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517518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8 PERS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résentation équip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0131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9425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0" name="Espace réservé du texte 16">
            <a:extLst>
              <a:ext uri="{FF2B5EF4-FFF2-40B4-BE49-F238E27FC236}">
                <a16:creationId xmlns:a16="http://schemas.microsoft.com/office/drawing/2014/main" xmlns="" id="{F6337914-D36F-43DE-AB8B-72A1E5DF1C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90131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2D209C04-695C-46F3-9636-C55577CCAA8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2283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6F105F60-3F3B-47EB-9D98-0AC8D499A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67442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xmlns="" id="{91B7D41B-F51F-4AB5-9A72-456B52F979E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59594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06778E9D-D17D-4914-97DE-49D51276BB3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44751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DDF2DEFF-A2F6-4073-AA97-B29CCE54C52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024045" y="1417976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0F8D44D4-8A30-4501-82B4-A82AFEC009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44751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C1AC91ED-5609-476D-BE41-07D177E4AE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6903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1" name="Espace réservé du texte 16">
            <a:extLst>
              <a:ext uri="{FF2B5EF4-FFF2-40B4-BE49-F238E27FC236}">
                <a16:creationId xmlns:a16="http://schemas.microsoft.com/office/drawing/2014/main" xmlns="" id="{8CE24202-2845-42A3-AF70-82BD181CAA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22062" y="2986703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2" name="Espace réservé du texte 16">
            <a:extLst>
              <a:ext uri="{FF2B5EF4-FFF2-40B4-BE49-F238E27FC236}">
                <a16:creationId xmlns:a16="http://schemas.microsoft.com/office/drawing/2014/main" xmlns="" id="{F8006483-7AFB-40C8-9986-0DCDA47C3D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14214" y="3324668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34B8B323-EF93-4A7F-9969-D840B1D854A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0131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5E31982C-9272-47FD-8C42-DB559094A8D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869425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8E579A1C-ABA0-4F1E-8C9A-1A8D2F921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90131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9A267BD1-56D4-4DBC-9432-C43F2AC601A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82283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7" name="Espace réservé du texte 16">
            <a:extLst>
              <a:ext uri="{FF2B5EF4-FFF2-40B4-BE49-F238E27FC236}">
                <a16:creationId xmlns:a16="http://schemas.microsoft.com/office/drawing/2014/main" xmlns="" id="{1A80F3BF-A4D5-4322-A983-38D92755CA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67442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597A55D3-92CD-4D3B-B89C-8AC7A72A6C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59594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29" name="Espace réservé pour une image  6">
            <a:extLst>
              <a:ext uri="{FF2B5EF4-FFF2-40B4-BE49-F238E27FC236}">
                <a16:creationId xmlns:a16="http://schemas.microsoft.com/office/drawing/2014/main" xmlns="" id="{F353E210-BB2D-4C39-9DE4-FF0DB2EC1D1F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444751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0" name="Espace réservé pour une image  6">
            <a:extLst>
              <a:ext uri="{FF2B5EF4-FFF2-40B4-BE49-F238E27FC236}">
                <a16:creationId xmlns:a16="http://schemas.microsoft.com/office/drawing/2014/main" xmlns="" id="{C35BB586-9C07-43BF-9FD1-0B351B05137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9024045" y="3790037"/>
            <a:ext cx="1809751" cy="151661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fr-FR"/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C35D6923-DA89-4012-B41C-7D352DC51EB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44751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D37E676C-7672-4907-A33C-8A7B639D54D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36903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055B5EAC-D3AB-416D-B253-98FB6AFECEB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22062" y="5358765"/>
            <a:ext cx="1809751" cy="28623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Prénom / nom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B30609C5-E3FB-4BA4-82BC-01C90C359CC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14214" y="5696731"/>
            <a:ext cx="2425447" cy="237757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6" name="Espace réservé de la date 3">
            <a:extLst>
              <a:ext uri="{FF2B5EF4-FFF2-40B4-BE49-F238E27FC236}">
                <a16:creationId xmlns:a16="http://schemas.microsoft.com/office/drawing/2014/main" xmlns="" id="{EEB79370-0C2F-4683-946F-991D2506A00C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46E05E74-2C0D-4113-9143-853EB8AB06F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35" name="Espace réservé du pied de page 4">
            <a:extLst>
              <a:ext uri="{FF2B5EF4-FFF2-40B4-BE49-F238E27FC236}">
                <a16:creationId xmlns:a16="http://schemas.microsoft.com/office/drawing/2014/main" xmlns="" id="{D8140669-2368-4FC8-94A0-9063141276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289948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4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xmlns="" id="{8BF75F91-9399-4B96-A46F-567BF14ED8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21481" y="3372402"/>
            <a:ext cx="7730731" cy="132156"/>
          </a:xfrm>
          <a:custGeom>
            <a:avLst/>
            <a:gdLst>
              <a:gd name="connsiteX0" fmla="*/ 7629385 w 7730730"/>
              <a:gd name="connsiteY0" fmla="*/ 0 h 132156"/>
              <a:gd name="connsiteX1" fmla="*/ 7730730 w 7730730"/>
              <a:gd name="connsiteY1" fmla="*/ 66078 h 132156"/>
              <a:gd name="connsiteX2" fmla="*/ 7629385 w 7730730"/>
              <a:gd name="connsiteY2" fmla="*/ 132156 h 132156"/>
              <a:gd name="connsiteX3" fmla="*/ 7629385 w 7730730"/>
              <a:gd name="connsiteY3" fmla="*/ 99117 h 132156"/>
              <a:gd name="connsiteX4" fmla="*/ 3815639 w 7730730"/>
              <a:gd name="connsiteY4" fmla="*/ 99117 h 132156"/>
              <a:gd name="connsiteX5" fmla="*/ 161374 w 7730730"/>
              <a:gd name="connsiteY5" fmla="*/ 99117 h 132156"/>
              <a:gd name="connsiteX6" fmla="*/ 0 w 7730730"/>
              <a:gd name="connsiteY6" fmla="*/ 99117 h 132156"/>
              <a:gd name="connsiteX7" fmla="*/ 0 w 7730730"/>
              <a:gd name="connsiteY7" fmla="*/ 33039 h 132156"/>
              <a:gd name="connsiteX8" fmla="*/ 161374 w 7730730"/>
              <a:gd name="connsiteY8" fmla="*/ 33039 h 132156"/>
              <a:gd name="connsiteX9" fmla="*/ 3815639 w 7730730"/>
              <a:gd name="connsiteY9" fmla="*/ 33039 h 132156"/>
              <a:gd name="connsiteX10" fmla="*/ 7629385 w 7730730"/>
              <a:gd name="connsiteY10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30730" h="132156">
                <a:moveTo>
                  <a:pt x="7629385" y="0"/>
                </a:moveTo>
                <a:lnTo>
                  <a:pt x="7730730" y="66078"/>
                </a:lnTo>
                <a:lnTo>
                  <a:pt x="7629385" y="132156"/>
                </a:lnTo>
                <a:lnTo>
                  <a:pt x="7629385" y="99117"/>
                </a:lnTo>
                <a:lnTo>
                  <a:pt x="3815639" y="99117"/>
                </a:lnTo>
                <a:lnTo>
                  <a:pt x="161374" y="99117"/>
                </a:lnTo>
                <a:lnTo>
                  <a:pt x="0" y="99117"/>
                </a:lnTo>
                <a:lnTo>
                  <a:pt x="0" y="33039"/>
                </a:lnTo>
                <a:lnTo>
                  <a:pt x="161374" y="33039"/>
                </a:lnTo>
                <a:lnTo>
                  <a:pt x="3815639" y="33039"/>
                </a:lnTo>
                <a:lnTo>
                  <a:pt x="7629385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9024" y="1175443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834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53855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363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84875" y="293224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8343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53855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9363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84875" y="3757137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8343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53855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9363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4875" y="409548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5" name="Espace réservé pour une image  11">
            <a:extLst>
              <a:ext uri="{FF2B5EF4-FFF2-40B4-BE49-F238E27FC236}">
                <a16:creationId xmlns:a16="http://schemas.microsoft.com/office/drawing/2014/main" xmlns="" id="{026DD0D7-A6FD-4945-9FE2-3A359ED79123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2" y="2"/>
            <a:ext cx="3621481" cy="5143500"/>
          </a:xfrm>
        </p:spPr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27915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43427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658935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568663" y="3360419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28" name="Espace réservé de la date 3">
            <a:extLst>
              <a:ext uri="{FF2B5EF4-FFF2-40B4-BE49-F238E27FC236}">
                <a16:creationId xmlns:a16="http://schemas.microsoft.com/office/drawing/2014/main" xmlns="" id="{DF1A8EF8-287A-4E3D-AEBD-D82AF442E3FD}"/>
              </a:ext>
            </a:extLst>
          </p:cNvPr>
          <p:cNvSpPr>
            <a:spLocks noGrp="1"/>
          </p:cNvSpPr>
          <p:nvPr>
            <p:ph type="dt" sz="half" idx="36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3080486-4FCA-4662-8803-77A53ADF7262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xmlns="" id="{982FB0BB-51CC-418F-A6FC-59665323B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51545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8 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Espace réservé pour une image  56">
            <a:extLst>
              <a:ext uri="{FF2B5EF4-FFF2-40B4-BE49-F238E27FC236}">
                <a16:creationId xmlns:a16="http://schemas.microsoft.com/office/drawing/2014/main" xmlns="" id="{9DB540FF-3588-4A85-9C5C-E2A1DB0ACDC2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8321285" y="-15393"/>
            <a:ext cx="3870719" cy="5681813"/>
          </a:xfrm>
          <a:custGeom>
            <a:avLst/>
            <a:gdLst>
              <a:gd name="connsiteX0" fmla="*/ 0 w 3870719"/>
              <a:gd name="connsiteY0" fmla="*/ 2865178 h 5681813"/>
              <a:gd name="connsiteX1" fmla="*/ 118478 w 3870719"/>
              <a:gd name="connsiteY1" fmla="*/ 2873285 h 5681813"/>
              <a:gd name="connsiteX2" fmla="*/ 772958 w 3870719"/>
              <a:gd name="connsiteY2" fmla="*/ 3325596 h 5681813"/>
              <a:gd name="connsiteX3" fmla="*/ 765784 w 3870719"/>
              <a:gd name="connsiteY3" fmla="*/ 4242158 h 5681813"/>
              <a:gd name="connsiteX4" fmla="*/ 104308 w 3870719"/>
              <a:gd name="connsiteY4" fmla="*/ 4683639 h 5681813"/>
              <a:gd name="connsiteX5" fmla="*/ 0 w 3870719"/>
              <a:gd name="connsiteY5" fmla="*/ 4689054 h 5681813"/>
              <a:gd name="connsiteX6" fmla="*/ 2298 w 3870719"/>
              <a:gd name="connsiteY6" fmla="*/ 0 h 5681813"/>
              <a:gd name="connsiteX7" fmla="*/ 3870719 w 3870719"/>
              <a:gd name="connsiteY7" fmla="*/ 0 h 5681813"/>
              <a:gd name="connsiteX8" fmla="*/ 3870719 w 3870719"/>
              <a:gd name="connsiteY8" fmla="*/ 5681813 h 5681813"/>
              <a:gd name="connsiteX9" fmla="*/ 2298 w 3870719"/>
              <a:gd name="connsiteY9" fmla="*/ 5681813 h 5681813"/>
              <a:gd name="connsiteX10" fmla="*/ 2298 w 3870719"/>
              <a:gd name="connsiteY10" fmla="*/ 4717353 h 5681813"/>
              <a:gd name="connsiteX11" fmla="*/ 108764 w 3870719"/>
              <a:gd name="connsiteY11" fmla="*/ 4711778 h 5681813"/>
              <a:gd name="connsiteX12" fmla="*/ 783935 w 3870719"/>
              <a:gd name="connsiteY12" fmla="*/ 4257299 h 5681813"/>
              <a:gd name="connsiteX13" fmla="*/ 791258 w 3870719"/>
              <a:gd name="connsiteY13" fmla="*/ 3313750 h 5681813"/>
              <a:gd name="connsiteX14" fmla="*/ 123229 w 3870719"/>
              <a:gd name="connsiteY14" fmla="*/ 2848122 h 5681813"/>
              <a:gd name="connsiteX15" fmla="*/ 2298 w 3870719"/>
              <a:gd name="connsiteY15" fmla="*/ 2839776 h 568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870719" h="5681813">
                <a:moveTo>
                  <a:pt x="0" y="2865178"/>
                </a:moveTo>
                <a:lnTo>
                  <a:pt x="118478" y="2873285"/>
                </a:lnTo>
                <a:cubicBezTo>
                  <a:pt x="391221" y="2910816"/>
                  <a:pt x="634433" y="3076509"/>
                  <a:pt x="772958" y="3325596"/>
                </a:cubicBezTo>
                <a:cubicBezTo>
                  <a:pt x="931274" y="3610267"/>
                  <a:pt x="928535" y="3960129"/>
                  <a:pt x="765784" y="4242158"/>
                </a:cubicBezTo>
                <a:cubicBezTo>
                  <a:pt x="623377" y="4488934"/>
                  <a:pt x="377604" y="4650601"/>
                  <a:pt x="104308" y="4683639"/>
                </a:cubicBezTo>
                <a:lnTo>
                  <a:pt x="0" y="4689054"/>
                </a:lnTo>
                <a:close/>
                <a:moveTo>
                  <a:pt x="2298" y="0"/>
                </a:moveTo>
                <a:lnTo>
                  <a:pt x="3870719" y="0"/>
                </a:lnTo>
                <a:lnTo>
                  <a:pt x="3870719" y="5681813"/>
                </a:lnTo>
                <a:lnTo>
                  <a:pt x="2298" y="5681813"/>
                </a:lnTo>
                <a:lnTo>
                  <a:pt x="2298" y="4717353"/>
                </a:lnTo>
                <a:lnTo>
                  <a:pt x="108764" y="4711778"/>
                </a:lnTo>
                <a:cubicBezTo>
                  <a:pt x="387718" y="4677768"/>
                  <a:pt x="638580" y="4511341"/>
                  <a:pt x="783935" y="4257299"/>
                </a:cubicBezTo>
                <a:cubicBezTo>
                  <a:pt x="950055" y="3966966"/>
                  <a:pt x="952851" y="3606803"/>
                  <a:pt x="791258" y="3313750"/>
                </a:cubicBezTo>
                <a:cubicBezTo>
                  <a:pt x="649865" y="3057329"/>
                  <a:pt x="401618" y="2886758"/>
                  <a:pt x="123229" y="2848122"/>
                </a:cubicBezTo>
                <a:lnTo>
                  <a:pt x="2298" y="283977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175443"/>
            <a:ext cx="7691501" cy="563231"/>
          </a:xfrm>
        </p:spPr>
        <p:txBody>
          <a:bodyPr anchor="b"/>
          <a:lstStyle>
            <a:lvl1pPr>
              <a:defRPr/>
            </a:lvl1pPr>
          </a:lstStyle>
          <a:p>
            <a:r>
              <a:rPr lang="fr-FR" dirty="0"/>
              <a:t>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389D2404-93ED-486C-8E3C-38374D550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cxnSp>
        <p:nvCxnSpPr>
          <p:cNvPr id="6" name="Google Shape;1226;p34">
            <a:extLst>
              <a:ext uri="{FF2B5EF4-FFF2-40B4-BE49-F238E27FC236}">
                <a16:creationId xmlns:a16="http://schemas.microsoft.com/office/drawing/2014/main" xmlns="" id="{1F5C82C3-9E61-4B50-9465-C623080F6C66}"/>
              </a:ext>
            </a:extLst>
          </p:cNvPr>
          <p:cNvCxnSpPr>
            <a:cxnSpLocks/>
          </p:cNvCxnSpPr>
          <p:nvPr userDrawn="1"/>
        </p:nvCxnSpPr>
        <p:spPr>
          <a:xfrm>
            <a:off x="-123366" y="2835947"/>
            <a:ext cx="8444649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none" w="med" len="med"/>
          </a:ln>
        </p:spPr>
      </p:cxn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xmlns="" id="{D73E3F27-450D-4F9F-9669-ABEFA1CF14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794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xmlns="" id="{195342F7-CF0D-4E81-BF59-585FE79F8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6306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xmlns="" id="{A1FA4474-F274-4972-8EE4-B1AABC4DAA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11815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xmlns="" id="{27189E01-90B9-4ABA-A758-CF2185A25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7326" y="23416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23" name="Espace réservé du texte 16">
            <a:extLst>
              <a:ext uri="{FF2B5EF4-FFF2-40B4-BE49-F238E27FC236}">
                <a16:creationId xmlns:a16="http://schemas.microsoft.com/office/drawing/2014/main" xmlns="" id="{E9E67012-0FFF-49E8-B11D-8DCFBEAC3C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794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4" name="Espace réservé du texte 16">
            <a:extLst>
              <a:ext uri="{FF2B5EF4-FFF2-40B4-BE49-F238E27FC236}">
                <a16:creationId xmlns:a16="http://schemas.microsoft.com/office/drawing/2014/main" xmlns="" id="{B6D2F171-39E1-44AE-BA65-78DDA2CCDC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96306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5" name="Espace réservé du texte 16">
            <a:extLst>
              <a:ext uri="{FF2B5EF4-FFF2-40B4-BE49-F238E27FC236}">
                <a16:creationId xmlns:a16="http://schemas.microsoft.com/office/drawing/2014/main" xmlns="" id="{0A4CD6AF-76D3-4735-8056-A614C1F7F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11815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6" name="Espace réservé du texte 16">
            <a:extLst>
              <a:ext uri="{FF2B5EF4-FFF2-40B4-BE49-F238E27FC236}">
                <a16:creationId xmlns:a16="http://schemas.microsoft.com/office/drawing/2014/main" xmlns="" id="{E9171B90-C96B-4F40-AE07-91EFD25832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27326" y="30618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29" name="Espace réservé du texte 16">
            <a:extLst>
              <a:ext uri="{FF2B5EF4-FFF2-40B4-BE49-F238E27FC236}">
                <a16:creationId xmlns:a16="http://schemas.microsoft.com/office/drawing/2014/main" xmlns="" id="{7643EC10-56C2-4A6E-9D44-9DF404AFFD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0794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xmlns="" id="{94E6DB10-54A6-467E-9638-B6E732308E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6306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1" name="Espace réservé du texte 16">
            <a:extLst>
              <a:ext uri="{FF2B5EF4-FFF2-40B4-BE49-F238E27FC236}">
                <a16:creationId xmlns:a16="http://schemas.microsoft.com/office/drawing/2014/main" xmlns="" id="{1A96EE15-4C44-4DA2-83BE-EA46CFB5B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11815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xmlns="" id="{4A8D1DBA-AD9A-4EF3-A98C-323145A7C6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27326" y="34001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xmlns="" id="{2C8F7152-8BE1-40BB-95BA-FA68EF1F53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70366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xmlns="" id="{21D8851B-2809-4F8B-AF25-D393CA7685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85878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xmlns="" id="{87F27104-07D4-4A36-A53C-5731231956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01387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xmlns="" id="{B18FEB65-B5F7-418F-A1E6-EEBA4749C8D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11115" y="27698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cxnSp>
        <p:nvCxnSpPr>
          <p:cNvPr id="27" name="Google Shape;1226;p34">
            <a:extLst>
              <a:ext uri="{FF2B5EF4-FFF2-40B4-BE49-F238E27FC236}">
                <a16:creationId xmlns:a16="http://schemas.microsoft.com/office/drawing/2014/main" xmlns="" id="{23DF94F9-A260-43CD-9248-D99813267475}"/>
              </a:ext>
            </a:extLst>
          </p:cNvPr>
          <p:cNvCxnSpPr>
            <a:cxnSpLocks/>
          </p:cNvCxnSpPr>
          <p:nvPr userDrawn="1"/>
        </p:nvCxnSpPr>
        <p:spPr>
          <a:xfrm flipH="1">
            <a:off x="377827" y="4695735"/>
            <a:ext cx="7939861" cy="0"/>
          </a:xfrm>
          <a:prstGeom prst="straightConnector1">
            <a:avLst/>
          </a:prstGeom>
          <a:noFill/>
          <a:ln w="38100" cap="flat" cmpd="sng">
            <a:solidFill>
              <a:srgbClr val="D6D5D5"/>
            </a:solidFill>
            <a:prstDash val="solid"/>
            <a:miter lim="400000"/>
            <a:headEnd type="none" w="med" len="med"/>
            <a:tailEnd type="arrow" w="med" len="med"/>
          </a:ln>
        </p:spPr>
      </p:cxnSp>
      <p:sp>
        <p:nvSpPr>
          <p:cNvPr id="28" name="Espace réservé du texte 16">
            <a:extLst>
              <a:ext uri="{FF2B5EF4-FFF2-40B4-BE49-F238E27FC236}">
                <a16:creationId xmlns:a16="http://schemas.microsoft.com/office/drawing/2014/main" xmlns="" id="{6E483FAD-1FF2-4E6F-AD6C-10A215172D1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80794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3" name="Espace réservé du texte 16">
            <a:extLst>
              <a:ext uri="{FF2B5EF4-FFF2-40B4-BE49-F238E27FC236}">
                <a16:creationId xmlns:a16="http://schemas.microsoft.com/office/drawing/2014/main" xmlns="" id="{40278062-5064-42DD-BA7C-79672AD14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96306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xmlns="" id="{2455AF2F-DB1A-420F-B454-24A9A6CEF7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11815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xmlns="" id="{4BDB55D4-7059-4186-A888-98BF87E1BF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27326" y="4215395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40" name="Espace réservé du texte 16">
            <a:extLst>
              <a:ext uri="{FF2B5EF4-FFF2-40B4-BE49-F238E27FC236}">
                <a16:creationId xmlns:a16="http://schemas.microsoft.com/office/drawing/2014/main" xmlns="" id="{3774B387-0915-460D-A5C5-EE38F7D549B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0794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1" name="Espace réservé du texte 16">
            <a:extLst>
              <a:ext uri="{FF2B5EF4-FFF2-40B4-BE49-F238E27FC236}">
                <a16:creationId xmlns:a16="http://schemas.microsoft.com/office/drawing/2014/main" xmlns="" id="{371177E5-C54B-426E-A5B9-32471D4CF1A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296306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2" name="Espace réservé du texte 16">
            <a:extLst>
              <a:ext uri="{FF2B5EF4-FFF2-40B4-BE49-F238E27FC236}">
                <a16:creationId xmlns:a16="http://schemas.microsoft.com/office/drawing/2014/main" xmlns="" id="{FD305E3C-DE4E-4AF4-8DDC-90018E62B6B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211815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3" name="Espace réservé du texte 16">
            <a:extLst>
              <a:ext uri="{FF2B5EF4-FFF2-40B4-BE49-F238E27FC236}">
                <a16:creationId xmlns:a16="http://schemas.microsoft.com/office/drawing/2014/main" xmlns="" id="{AF3390B6-61A7-40B1-A825-2954AF18355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27326" y="4935513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44" name="Espace réservé du texte 16">
            <a:extLst>
              <a:ext uri="{FF2B5EF4-FFF2-40B4-BE49-F238E27FC236}">
                <a16:creationId xmlns:a16="http://schemas.microsoft.com/office/drawing/2014/main" xmlns="" id="{5ED5135D-3F5E-42C4-B518-A439EFE49A4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0794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5" name="Espace réservé du texte 16">
            <a:extLst>
              <a:ext uri="{FF2B5EF4-FFF2-40B4-BE49-F238E27FC236}">
                <a16:creationId xmlns:a16="http://schemas.microsoft.com/office/drawing/2014/main" xmlns="" id="{D2EC1CE9-2717-4BF0-9EFE-270FD6C1324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96306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6" name="Espace réservé du texte 16">
            <a:extLst>
              <a:ext uri="{FF2B5EF4-FFF2-40B4-BE49-F238E27FC236}">
                <a16:creationId xmlns:a16="http://schemas.microsoft.com/office/drawing/2014/main" xmlns="" id="{2CF3B89E-1947-4759-B0C8-7F19998EEA7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11815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7" name="Espace réservé du texte 16">
            <a:extLst>
              <a:ext uri="{FF2B5EF4-FFF2-40B4-BE49-F238E27FC236}">
                <a16:creationId xmlns:a16="http://schemas.microsoft.com/office/drawing/2014/main" xmlns="" id="{9D34728F-ABD5-4D0A-8813-9B49DC41609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27326" y="5273855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48" name="Espace réservé du texte 14">
            <a:extLst>
              <a:ext uri="{FF2B5EF4-FFF2-40B4-BE49-F238E27FC236}">
                <a16:creationId xmlns:a16="http://schemas.microsoft.com/office/drawing/2014/main" xmlns="" id="{17D0B598-D7F3-4D05-93C6-1150F0041CC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70366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49" name="Espace réservé du texte 14">
            <a:extLst>
              <a:ext uri="{FF2B5EF4-FFF2-40B4-BE49-F238E27FC236}">
                <a16:creationId xmlns:a16="http://schemas.microsoft.com/office/drawing/2014/main" xmlns="" id="{86BB90E2-1248-40AB-AF36-748A2695005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985878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0" name="Espace réservé du texte 14">
            <a:extLst>
              <a:ext uri="{FF2B5EF4-FFF2-40B4-BE49-F238E27FC236}">
                <a16:creationId xmlns:a16="http://schemas.microsoft.com/office/drawing/2014/main" xmlns="" id="{872EB272-CB75-4765-AB78-ACDB84D84AE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901387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1" name="Espace réservé du texte 14">
            <a:extLst>
              <a:ext uri="{FF2B5EF4-FFF2-40B4-BE49-F238E27FC236}">
                <a16:creationId xmlns:a16="http://schemas.microsoft.com/office/drawing/2014/main" xmlns="" id="{A231F584-48ED-46BD-9904-FDEA600ACC1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11115" y="4643570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53" name="Espace réservé de la date 3">
            <a:extLst>
              <a:ext uri="{FF2B5EF4-FFF2-40B4-BE49-F238E27FC236}">
                <a16:creationId xmlns:a16="http://schemas.microsoft.com/office/drawing/2014/main" xmlns="" id="{3258180C-5497-4C38-9C95-4375871FBF04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3CA8FBA-2E77-4098-A498-2FC142F0AD7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52" name="Espace réservé du pied de page 4">
            <a:extLst>
              <a:ext uri="{FF2B5EF4-FFF2-40B4-BE49-F238E27FC236}">
                <a16:creationId xmlns:a16="http://schemas.microsoft.com/office/drawing/2014/main" xmlns="" id="{71F260EF-9429-4601-91CB-C9EF7F767B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95403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xmlns="" id="{05F86067-1E47-4559-8155-721EE640A36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4047" y="3372402"/>
            <a:ext cx="10438165" cy="132156"/>
          </a:xfrm>
          <a:custGeom>
            <a:avLst/>
            <a:gdLst>
              <a:gd name="connsiteX0" fmla="*/ 10336820 w 10438165"/>
              <a:gd name="connsiteY0" fmla="*/ 0 h 132156"/>
              <a:gd name="connsiteX1" fmla="*/ 10438165 w 10438165"/>
              <a:gd name="connsiteY1" fmla="*/ 66078 h 132156"/>
              <a:gd name="connsiteX2" fmla="*/ 10336820 w 10438165"/>
              <a:gd name="connsiteY2" fmla="*/ 132156 h 132156"/>
              <a:gd name="connsiteX3" fmla="*/ 10336820 w 10438165"/>
              <a:gd name="connsiteY3" fmla="*/ 99117 h 132156"/>
              <a:gd name="connsiteX4" fmla="*/ 6523074 w 10438165"/>
              <a:gd name="connsiteY4" fmla="*/ 99117 h 132156"/>
              <a:gd name="connsiteX5" fmla="*/ 6523074 w 10438165"/>
              <a:gd name="connsiteY5" fmla="*/ 99117 h 132156"/>
              <a:gd name="connsiteX6" fmla="*/ 2868809 w 10438165"/>
              <a:gd name="connsiteY6" fmla="*/ 99117 h 132156"/>
              <a:gd name="connsiteX7" fmla="*/ 0 w 10438165"/>
              <a:gd name="connsiteY7" fmla="*/ 99117 h 132156"/>
              <a:gd name="connsiteX8" fmla="*/ 0 w 10438165"/>
              <a:gd name="connsiteY8" fmla="*/ 33039 h 132156"/>
              <a:gd name="connsiteX9" fmla="*/ 2868809 w 10438165"/>
              <a:gd name="connsiteY9" fmla="*/ 33039 h 132156"/>
              <a:gd name="connsiteX10" fmla="*/ 6523074 w 10438165"/>
              <a:gd name="connsiteY10" fmla="*/ 33039 h 132156"/>
              <a:gd name="connsiteX11" fmla="*/ 6523074 w 10438165"/>
              <a:gd name="connsiteY11" fmla="*/ 33039 h 132156"/>
              <a:gd name="connsiteX12" fmla="*/ 10336820 w 10438165"/>
              <a:gd name="connsiteY12" fmla="*/ 33039 h 132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438165" h="132156">
                <a:moveTo>
                  <a:pt x="10336820" y="0"/>
                </a:moveTo>
                <a:lnTo>
                  <a:pt x="10438165" y="66078"/>
                </a:lnTo>
                <a:lnTo>
                  <a:pt x="10336820" y="132156"/>
                </a:lnTo>
                <a:lnTo>
                  <a:pt x="10336820" y="99117"/>
                </a:lnTo>
                <a:lnTo>
                  <a:pt x="6523074" y="99117"/>
                </a:lnTo>
                <a:lnTo>
                  <a:pt x="6523074" y="99117"/>
                </a:lnTo>
                <a:lnTo>
                  <a:pt x="2868809" y="99117"/>
                </a:lnTo>
                <a:lnTo>
                  <a:pt x="0" y="99117"/>
                </a:lnTo>
                <a:lnTo>
                  <a:pt x="0" y="33039"/>
                </a:lnTo>
                <a:lnTo>
                  <a:pt x="2868809" y="33039"/>
                </a:lnTo>
                <a:lnTo>
                  <a:pt x="6523074" y="33039"/>
                </a:lnTo>
                <a:lnTo>
                  <a:pt x="6523074" y="33039"/>
                </a:lnTo>
                <a:lnTo>
                  <a:pt x="10336820" y="330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b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EEDDBB-7D1E-442E-8DED-5E6330251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u texte 16">
            <a:extLst>
              <a:ext uri="{FF2B5EF4-FFF2-40B4-BE49-F238E27FC236}">
                <a16:creationId xmlns:a16="http://schemas.microsoft.com/office/drawing/2014/main" xmlns="" id="{E691DEE2-E7EE-4FD9-AA00-F52560168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9979" y="2944231"/>
            <a:ext cx="1511300" cy="286232"/>
          </a:xfrm>
        </p:spPr>
        <p:txBody>
          <a:bodyPr anchor="b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Date</a:t>
            </a:r>
          </a:p>
        </p:txBody>
      </p:sp>
      <p:sp>
        <p:nvSpPr>
          <p:cNvPr id="12" name="Espace réservé du texte 16">
            <a:extLst>
              <a:ext uri="{FF2B5EF4-FFF2-40B4-BE49-F238E27FC236}">
                <a16:creationId xmlns:a16="http://schemas.microsoft.com/office/drawing/2014/main" xmlns="" id="{AC5A7CE0-87C1-45B5-99A4-75E5E08DB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9979" y="3664349"/>
            <a:ext cx="1511300" cy="2446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ction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:a16="http://schemas.microsoft.com/office/drawing/2014/main" xmlns="" id="{FA116E92-7D11-408B-B5AD-1EDF39EF83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9979" y="4002691"/>
            <a:ext cx="1511300" cy="216983"/>
          </a:xfrm>
        </p:spPr>
        <p:txBody>
          <a:bodyPr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 b="0" cap="none">
                <a:solidFill>
                  <a:srgbClr val="2E241A"/>
                </a:solidFill>
              </a:defRPr>
            </a:lvl1pPr>
          </a:lstStyle>
          <a:p>
            <a:pPr lvl="0"/>
            <a:r>
              <a:rPr lang="fr-FR" dirty="0"/>
              <a:t>Description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xmlns="" id="{2F111BF4-413D-45A3-B3CA-6D9F0066FE5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9551" y="3372406"/>
            <a:ext cx="132156" cy="132156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Autofit/>
          </a:bodyPr>
          <a:lstStyle>
            <a:lvl1pPr marL="0"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x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xmlns="" id="{5A5558FD-4B9F-4745-B1F8-40D160C2C280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DDF33FA-359B-48AC-A166-49421455CBFA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texte 16">
            <a:extLst>
              <a:ext uri="{FF2B5EF4-FFF2-40B4-BE49-F238E27FC236}">
                <a16:creationId xmlns:a16="http://schemas.microsoft.com/office/drawing/2014/main" xmlns="" id="{5FDC6C98-BC07-4D67-BC7B-3CEAAB3583D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76349" y="2424296"/>
            <a:ext cx="738555" cy="286232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xmlns="" id="{277D3F6A-8541-4344-ABE5-22A4F4D98C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1661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QUE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F0BD435-73F9-4A79-A80E-921FA72F1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Logo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CE58DDF4-33FC-40AC-AB2E-D782D6D2D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BA4CC-8C3A-43DE-90DA-80527C4FE212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xmlns="" id="{FC143684-1F2C-4ABF-8990-185E74EEC2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9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xmlns="" id="{DD767DDC-FD05-4730-83A2-D55FC21D48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53533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xmlns="" id="{04A51DED-1854-4455-AD80-1CE19ECE1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1126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7" name="Espace réservé pour une image  6">
            <a:extLst>
              <a:ext uri="{FF2B5EF4-FFF2-40B4-BE49-F238E27FC236}">
                <a16:creationId xmlns:a16="http://schemas.microsoft.com/office/drawing/2014/main" xmlns="" id="{C385255D-FB3C-44BF-9352-E8F2F8EB248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28719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8" name="Espace réservé pour une image  6">
            <a:extLst>
              <a:ext uri="{FF2B5EF4-FFF2-40B4-BE49-F238E27FC236}">
                <a16:creationId xmlns:a16="http://schemas.microsoft.com/office/drawing/2014/main" xmlns="" id="{E1570A94-4308-43FB-8D2A-C370C942C75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66314" y="1841500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6">
            <a:extLst>
              <a:ext uri="{FF2B5EF4-FFF2-40B4-BE49-F238E27FC236}">
                <a16:creationId xmlns:a16="http://schemas.microsoft.com/office/drawing/2014/main" xmlns="" id="{3712B59D-6FE6-4DC5-A305-1C40F51606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5939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6">
            <a:extLst>
              <a:ext uri="{FF2B5EF4-FFF2-40B4-BE49-F238E27FC236}">
                <a16:creationId xmlns:a16="http://schemas.microsoft.com/office/drawing/2014/main" xmlns="" id="{748AEA66-35BE-46AC-9581-E93250F3A6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53533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1" name="Espace réservé pour une image  6">
            <a:extLst>
              <a:ext uri="{FF2B5EF4-FFF2-40B4-BE49-F238E27FC236}">
                <a16:creationId xmlns:a16="http://schemas.microsoft.com/office/drawing/2014/main" xmlns="" id="{C59BF378-C6A3-453C-9277-101978A11C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91126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2" name="Espace réservé pour une image  6">
            <a:extLst>
              <a:ext uri="{FF2B5EF4-FFF2-40B4-BE49-F238E27FC236}">
                <a16:creationId xmlns:a16="http://schemas.microsoft.com/office/drawing/2014/main" xmlns="" id="{78E15921-3DC1-448F-AE2F-B0CB363DFCA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28719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3" name="Espace réservé pour une image  6">
            <a:extLst>
              <a:ext uri="{FF2B5EF4-FFF2-40B4-BE49-F238E27FC236}">
                <a16:creationId xmlns:a16="http://schemas.microsoft.com/office/drawing/2014/main" xmlns="" id="{D3E3F41F-E7AA-4174-84E6-6DEB41A8E84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866314" y="311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4" name="Espace réservé pour une image  6">
            <a:extLst>
              <a:ext uri="{FF2B5EF4-FFF2-40B4-BE49-F238E27FC236}">
                <a16:creationId xmlns:a16="http://schemas.microsoft.com/office/drawing/2014/main" xmlns="" id="{1E0694AA-56B5-4EB0-8F7F-B2ACE190528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9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5" name="Espace réservé pour une image  6">
            <a:extLst>
              <a:ext uri="{FF2B5EF4-FFF2-40B4-BE49-F238E27FC236}">
                <a16:creationId xmlns:a16="http://schemas.microsoft.com/office/drawing/2014/main" xmlns="" id="{3DAAACB5-F9BA-47AD-A403-C1FEB505CD9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53533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6" name="Espace réservé pour une image  6">
            <a:extLst>
              <a:ext uri="{FF2B5EF4-FFF2-40B4-BE49-F238E27FC236}">
                <a16:creationId xmlns:a16="http://schemas.microsoft.com/office/drawing/2014/main" xmlns="" id="{BA563421-C308-4E5B-AFAB-2C59C30168F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191126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7" name="Espace réservé pour une image  6">
            <a:extLst>
              <a:ext uri="{FF2B5EF4-FFF2-40B4-BE49-F238E27FC236}">
                <a16:creationId xmlns:a16="http://schemas.microsoft.com/office/drawing/2014/main" xmlns="" id="{9B5B6516-F62C-45A2-925F-A90BB58866B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528719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8" name="Espace réservé pour une image  6">
            <a:extLst>
              <a:ext uri="{FF2B5EF4-FFF2-40B4-BE49-F238E27FC236}">
                <a16:creationId xmlns:a16="http://schemas.microsoft.com/office/drawing/2014/main" xmlns="" id="{C245E10D-6E69-496C-A2B5-54BAADDEF41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866314" y="4381501"/>
            <a:ext cx="1809751" cy="10414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30" name="Espace réservé de la date 3">
            <a:extLst>
              <a:ext uri="{FF2B5EF4-FFF2-40B4-BE49-F238E27FC236}">
                <a16:creationId xmlns:a16="http://schemas.microsoft.com/office/drawing/2014/main" xmlns="" id="{8E36535D-58BA-4098-BF98-FB87F0311B6F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BE9FD99B-CB4D-4247-9815-6616BD3DEBA4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29" name="Espace réservé du pied de page 4">
            <a:extLst>
              <a:ext uri="{FF2B5EF4-FFF2-40B4-BE49-F238E27FC236}">
                <a16:creationId xmlns:a16="http://schemas.microsoft.com/office/drawing/2014/main" xmlns="" id="{AAC0BD2F-21A3-4565-A366-E56AF8BC0F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774727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11">
            <a:extLst>
              <a:ext uri="{FF2B5EF4-FFF2-40B4-BE49-F238E27FC236}">
                <a16:creationId xmlns:a16="http://schemas.microsoft.com/office/drawing/2014/main" xmlns="" id="{90ADE949-3092-4418-8D97-E9817FA1DE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xmlns="" id="{93FEC5A3-7361-47A3-8A62-6C0CD1E59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>
              <a:solidFill>
                <a:prstClr val="white"/>
              </a:solidFill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xmlns="" id="{80CB2CAE-DA19-44A0-B562-9B1CC3A19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1521274"/>
            <a:ext cx="5727697" cy="585788"/>
          </a:xfrm>
        </p:spPr>
        <p:txBody>
          <a:bodyPr vert="horz" lIns="0" tIns="0" rIns="0" bIns="0" rtlCol="0" anchor="t">
            <a:noAutofit/>
          </a:bodyPr>
          <a:lstStyle>
            <a:lvl1pPr>
              <a:defRPr lang="fr-FR" sz="55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xmlns="" id="{CB788E12-8F9C-47D2-B45B-95CC7630D9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1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12C237B7-D616-4423-8068-B700FDFA07DD}" type="datetime1">
              <a:rPr lang="fr-FR" smtClean="0">
                <a:solidFill>
                  <a:prstClr val="white"/>
                </a:solidFill>
              </a:rPr>
              <a:pPr defTabSz="1219170"/>
              <a:t>15/03/2023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xmlns="" id="{887445FF-EB2B-4E36-800B-9411AEB9D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bg1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prstClr val="white"/>
                </a:solidFill>
              </a:rPr>
              <a:t>Révélation PAC 2022 - DAV / DCMO / DRV</a:t>
            </a:r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731406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8F3EDA69-61A5-4FF7-A439-2601D015BA37}"/>
              </a:ext>
            </a:extLst>
          </p:cNvPr>
          <p:cNvSpPr/>
          <p:nvPr userDrawn="1"/>
        </p:nvSpPr>
        <p:spPr>
          <a:xfrm>
            <a:off x="371475" y="5805713"/>
            <a:ext cx="11635833" cy="8885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F95884A5-D607-4221-9CF7-5B3FD9CB7A95}"/>
              </a:ext>
            </a:extLst>
          </p:cNvPr>
          <p:cNvSpPr/>
          <p:nvPr userDrawn="1"/>
        </p:nvSpPr>
        <p:spPr>
          <a:xfrm>
            <a:off x="0" y="0"/>
            <a:ext cx="6096000" cy="488405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6" tIns="45718" rIns="91436" bIns="45718" rtlCol="0" anchor="ctr"/>
          <a:lstStyle/>
          <a:p>
            <a:pPr algn="ctr" defTabSz="914354">
              <a:defRPr/>
            </a:pPr>
            <a:endParaRPr lang="fr-FR" kern="0" dirty="0" smtClean="0">
              <a:solidFill>
                <a:prstClr val="white"/>
              </a:solidFill>
            </a:endParaRPr>
          </a:p>
        </p:txBody>
      </p:sp>
      <p:pic>
        <p:nvPicPr>
          <p:cNvPr id="33" name="Picture 2">
            <a:hlinkClick r:id="rId2"/>
            <a:extLst>
              <a:ext uri="{FF2B5EF4-FFF2-40B4-BE49-F238E27FC236}">
                <a16:creationId xmlns="" xmlns:a16="http://schemas.microsoft.com/office/drawing/2014/main" id="{C8B992BC-B9C9-4F95-8E2B-151A4F2C5F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81102" y="1262264"/>
            <a:ext cx="2410991" cy="243579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e 33">
            <a:extLst>
              <a:ext uri="{FF2B5EF4-FFF2-40B4-BE49-F238E27FC236}">
                <a16:creationId xmlns="" xmlns:a16="http://schemas.microsoft.com/office/drawing/2014/main" id="{D2AEFB68-5C60-46CB-842B-D15735058703}"/>
              </a:ext>
            </a:extLst>
          </p:cNvPr>
          <p:cNvGrpSpPr/>
          <p:nvPr userDrawn="1"/>
        </p:nvGrpSpPr>
        <p:grpSpPr>
          <a:xfrm>
            <a:off x="8081101" y="4056204"/>
            <a:ext cx="2410989" cy="382376"/>
            <a:chOff x="7680982" y="4608992"/>
            <a:chExt cx="2410989" cy="382376"/>
          </a:xfrm>
        </p:grpSpPr>
        <p:pic>
          <p:nvPicPr>
            <p:cNvPr id="35" name="Image 34">
              <a:hlinkClick r:id="rId4"/>
              <a:extLst>
                <a:ext uri="{FF2B5EF4-FFF2-40B4-BE49-F238E27FC236}">
                  <a16:creationId xmlns="" xmlns:a16="http://schemas.microsoft.com/office/drawing/2014/main" id="{F6312640-EFB4-4728-AFE6-EFBADAB930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9595" y="4608992"/>
              <a:ext cx="382376" cy="382376"/>
            </a:xfrm>
            <a:prstGeom prst="rect">
              <a:avLst/>
            </a:prstGeom>
          </p:spPr>
        </p:pic>
        <p:pic>
          <p:nvPicPr>
            <p:cNvPr id="36" name="Image 35">
              <a:hlinkClick r:id="rId6"/>
              <a:extLst>
                <a:ext uri="{FF2B5EF4-FFF2-40B4-BE49-F238E27FC236}">
                  <a16:creationId xmlns="" xmlns:a16="http://schemas.microsoft.com/office/drawing/2014/main" id="{82CE114C-CF1C-4E53-B642-579E8FDAD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2441" y="4608992"/>
              <a:ext cx="382376" cy="382376"/>
            </a:xfrm>
            <a:prstGeom prst="rect">
              <a:avLst/>
            </a:prstGeom>
          </p:spPr>
        </p:pic>
        <p:pic>
          <p:nvPicPr>
            <p:cNvPr id="37" name="Image 36">
              <a:hlinkClick r:id="rId8"/>
              <a:extLst>
                <a:ext uri="{FF2B5EF4-FFF2-40B4-BE49-F238E27FC236}">
                  <a16:creationId xmlns="" xmlns:a16="http://schemas.microsoft.com/office/drawing/2014/main" id="{22D4249A-B29C-4178-95D6-700B2330BB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288" y="4608992"/>
              <a:ext cx="382376" cy="382376"/>
            </a:xfrm>
            <a:prstGeom prst="rect">
              <a:avLst/>
            </a:prstGeom>
          </p:spPr>
        </p:pic>
        <p:pic>
          <p:nvPicPr>
            <p:cNvPr id="38" name="Image 37">
              <a:hlinkClick r:id="rId10"/>
              <a:extLst>
                <a:ext uri="{FF2B5EF4-FFF2-40B4-BE49-F238E27FC236}">
                  <a16:creationId xmlns="" xmlns:a16="http://schemas.microsoft.com/office/drawing/2014/main" id="{6BE745F4-58D3-40F5-98EC-A84E406E0D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8135" y="4608992"/>
              <a:ext cx="382376" cy="382376"/>
            </a:xfrm>
            <a:prstGeom prst="rect">
              <a:avLst/>
            </a:prstGeom>
          </p:spPr>
        </p:pic>
        <p:pic>
          <p:nvPicPr>
            <p:cNvPr id="39" name="Image 38">
              <a:hlinkClick r:id="rId12"/>
              <a:extLst>
                <a:ext uri="{FF2B5EF4-FFF2-40B4-BE49-F238E27FC236}">
                  <a16:creationId xmlns="" xmlns:a16="http://schemas.microsoft.com/office/drawing/2014/main" id="{B3DEF095-6653-4CA8-AAB6-751EEC0A60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0982" y="4608992"/>
              <a:ext cx="382376" cy="382376"/>
            </a:xfrm>
            <a:prstGeom prst="rect">
              <a:avLst/>
            </a:prstGeom>
          </p:spPr>
        </p:pic>
      </p:grp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DAB92FE6-9711-414B-82A2-C395EF4AAEEF}"/>
              </a:ext>
            </a:extLst>
          </p:cNvPr>
          <p:cNvSpPr/>
          <p:nvPr userDrawn="1"/>
        </p:nvSpPr>
        <p:spPr>
          <a:xfrm>
            <a:off x="6096000" y="6199187"/>
            <a:ext cx="6096000" cy="658815"/>
          </a:xfrm>
          <a:prstGeom prst="rect">
            <a:avLst/>
          </a:prstGeom>
          <a:solidFill>
            <a:srgbClr val="8F733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6" tIns="45718" rIns="91436" bIns="45718" rtlCol="0" anchor="ctr"/>
          <a:lstStyle/>
          <a:p>
            <a:pPr algn="ctr" defTabSz="914354">
              <a:defRPr/>
            </a:pPr>
            <a:endParaRPr lang="fr-FR" kern="0" dirty="0" smtClean="0">
              <a:solidFill>
                <a:prstClr val="white"/>
              </a:solidFill>
            </a:endParaRPr>
          </a:p>
        </p:txBody>
      </p:sp>
      <p:sp>
        <p:nvSpPr>
          <p:cNvPr id="42" name="Titre 1">
            <a:extLst>
              <a:ext uri="{FF2B5EF4-FFF2-40B4-BE49-F238E27FC236}">
                <a16:creationId xmlns="" xmlns:a16="http://schemas.microsoft.com/office/drawing/2014/main" id="{C3E24380-7F52-4BF4-8FAF-ADCF3945FE3C}"/>
              </a:ext>
            </a:extLst>
          </p:cNvPr>
          <p:cNvSpPr txBox="1">
            <a:spLocks/>
          </p:cNvSpPr>
          <p:nvPr userDrawn="1"/>
        </p:nvSpPr>
        <p:spPr>
          <a:xfrm>
            <a:off x="7892135" y="4384315"/>
            <a:ext cx="2788920" cy="5538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2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</a:lstStyle>
          <a:p>
            <a:pPr defTabSz="914354">
              <a:defRPr/>
            </a:pPr>
            <a:r>
              <a:rPr lang="fr-FR" sz="1600" dirty="0">
                <a:solidFill>
                  <a:srgbClr val="5B6971"/>
                </a:solidFill>
              </a:rPr>
              <a:t>@groupecovea - covea.eu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xmlns="" id="{AE7FA757-26C7-4D88-A892-D78BA96CA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2160415"/>
            <a:ext cx="4686664" cy="563231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fr-FR" dirty="0" smtClean="0"/>
              <a:t>Mot de fi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9234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xmlns="" id="{760B1F9C-2458-4956-A7C2-F9D2A1EA28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865" y="273596"/>
            <a:ext cx="10179339" cy="722997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C8A8A846-7167-41B1-B605-E6719C8AE8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1961" y="1952029"/>
            <a:ext cx="10879531" cy="4232275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6600"/>
              </a:lnSpc>
              <a:spcBef>
                <a:spcPts val="0"/>
              </a:spcBef>
              <a:spcAft>
                <a:spcPts val="3200"/>
              </a:spcAft>
              <a:buFontTx/>
              <a:buNone/>
              <a:defRPr sz="6800">
                <a:solidFill>
                  <a:srgbClr val="35609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200">
                <a:solidFill>
                  <a:srgbClr val="4D4D4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200">
                <a:solidFill>
                  <a:srgbClr val="4D4D4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200">
                <a:solidFill>
                  <a:srgbClr val="4D4D4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200">
                <a:solidFill>
                  <a:srgbClr val="4D4D4D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F2E01EF3-1B89-4FC6-987C-7B9F11911B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xmlns="" id="{05EAF753-B3E8-48B9-A44A-D6D66DCA1CB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F03861CC-55B0-4149-B37D-9117BDD7104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xmlns="" id="{C4F1F8BF-8CC8-49D4-A394-4DF48CE9E7A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2893211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7898213" y="174723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713658" y="1171556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716321" y="3930089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455640" y="1749327"/>
            <a:ext cx="3280735" cy="4164012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4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271090" y="1173642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273749" y="3932177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985933" y="1736799"/>
            <a:ext cx="3280735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1801380" y="1161117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1804041" y="3919653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99456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6889750" y="1747239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8316250" y="1129740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8318913" y="3000080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013072" y="1744447"/>
            <a:ext cx="4289199" cy="4164012"/>
          </a:xfrm>
          <a:prstGeom prst="rect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32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2324691" y="1129740"/>
            <a:ext cx="1665961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2326017" y="3000080"/>
            <a:ext cx="1663291" cy="93001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189040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2445705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2866470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2867595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978053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5398814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539994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508308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7929073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7930199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246983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5" name="Rectangle 24"/>
          <p:cNvSpPr/>
          <p:nvPr userDrawn="1"/>
        </p:nvSpPr>
        <p:spPr>
          <a:xfrm>
            <a:off x="1183709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48" name="Espace réservé du texte 7"/>
          <p:cNvSpPr>
            <a:spLocks noGrp="1"/>
          </p:cNvSpPr>
          <p:nvPr>
            <p:ph type="body" sz="quarter" idx="25" hasCustomPrompt="1"/>
          </p:nvPr>
        </p:nvSpPr>
        <p:spPr>
          <a:xfrm>
            <a:off x="1604471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49" name="Espace réservé du texte 10"/>
          <p:cNvSpPr>
            <a:spLocks noGrp="1"/>
          </p:cNvSpPr>
          <p:nvPr>
            <p:ph type="body" sz="quarter" idx="26"/>
          </p:nvPr>
        </p:nvSpPr>
        <p:spPr>
          <a:xfrm>
            <a:off x="1605599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716053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8" hasCustomPrompt="1"/>
          </p:nvPr>
        </p:nvSpPr>
        <p:spPr>
          <a:xfrm>
            <a:off x="4136817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9"/>
          </p:nvPr>
        </p:nvSpPr>
        <p:spPr>
          <a:xfrm>
            <a:off x="413794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246313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1" name="Espace réservé du texte 7"/>
          <p:cNvSpPr>
            <a:spLocks noGrp="1"/>
          </p:cNvSpPr>
          <p:nvPr>
            <p:ph type="body" sz="quarter" idx="30" hasCustomPrompt="1"/>
          </p:nvPr>
        </p:nvSpPr>
        <p:spPr>
          <a:xfrm>
            <a:off x="6667075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2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6668203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778657" y="3429010"/>
            <a:ext cx="2235899" cy="2171863"/>
          </a:xfrm>
          <a:prstGeom prst="rect">
            <a:avLst/>
          </a:prstGeom>
          <a:solidFill>
            <a:schemeClr val="accent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27" name="Espace réservé du texte 7"/>
          <p:cNvSpPr>
            <a:spLocks noGrp="1"/>
          </p:cNvSpPr>
          <p:nvPr>
            <p:ph type="body" sz="quarter" idx="32" hasCustomPrompt="1"/>
          </p:nvPr>
        </p:nvSpPr>
        <p:spPr>
          <a:xfrm>
            <a:off x="9199419" y="3812583"/>
            <a:ext cx="1419447" cy="34720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tx1"/>
                </a:solidFill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8" name="Espace réservé du texte 10"/>
          <p:cNvSpPr>
            <a:spLocks noGrp="1"/>
          </p:cNvSpPr>
          <p:nvPr>
            <p:ph type="body" sz="quarter" idx="33"/>
          </p:nvPr>
        </p:nvSpPr>
        <p:spPr>
          <a:xfrm>
            <a:off x="9200547" y="4385715"/>
            <a:ext cx="1417172" cy="792396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221630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117977" y="55660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1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0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4060528" y="1628395"/>
            <a:ext cx="4070959" cy="67640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085591" y="524582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365319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9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108227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3655515" y="524582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Espace réservé du texte 10"/>
          <p:cNvSpPr>
            <a:spLocks noGrp="1"/>
          </p:cNvSpPr>
          <p:nvPr>
            <p:ph type="body" sz="quarter" idx="28"/>
          </p:nvPr>
        </p:nvSpPr>
        <p:spPr>
          <a:xfrm>
            <a:off x="6223351" y="524582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Espace réservé pour une image  7"/>
          <p:cNvSpPr>
            <a:spLocks noGrp="1"/>
          </p:cNvSpPr>
          <p:nvPr>
            <p:ph type="pic" sz="quarter" idx="29"/>
          </p:nvPr>
        </p:nvSpPr>
        <p:spPr>
          <a:xfrm>
            <a:off x="8790955" y="3016945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3" name="Espace réservé pour une image  7"/>
          <p:cNvSpPr>
            <a:spLocks noGrp="1"/>
          </p:cNvSpPr>
          <p:nvPr>
            <p:ph type="pic" sz="quarter" idx="30"/>
          </p:nvPr>
        </p:nvSpPr>
        <p:spPr>
          <a:xfrm>
            <a:off x="6220035" y="3016948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31"/>
          </p:nvPr>
        </p:nvSpPr>
        <p:spPr>
          <a:xfrm>
            <a:off x="8793275" y="524582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326380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10897647" y="6356352"/>
            <a:ext cx="456156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096003" y="2964005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926935" y="971597"/>
            <a:ext cx="4083487" cy="40750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926932" y="1502129"/>
            <a:ext cx="4070959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8663607" y="735120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1"/>
          </p:nvPr>
        </p:nvSpPr>
        <p:spPr>
          <a:xfrm>
            <a:off x="6092687" y="738436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3"/>
          </p:nvPr>
        </p:nvSpPr>
        <p:spPr>
          <a:xfrm>
            <a:off x="8665923" y="2964003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0"/>
          <p:cNvSpPr>
            <a:spLocks noGrp="1"/>
          </p:cNvSpPr>
          <p:nvPr>
            <p:ph type="body" sz="quarter" idx="24"/>
          </p:nvPr>
        </p:nvSpPr>
        <p:spPr>
          <a:xfrm>
            <a:off x="6099315" y="5784449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pour une image  7"/>
          <p:cNvSpPr>
            <a:spLocks noGrp="1"/>
          </p:cNvSpPr>
          <p:nvPr>
            <p:ph type="pic" sz="quarter" idx="25"/>
          </p:nvPr>
        </p:nvSpPr>
        <p:spPr>
          <a:xfrm>
            <a:off x="8666923" y="3555564"/>
            <a:ext cx="2348948" cy="205818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  7"/>
          <p:cNvSpPr>
            <a:spLocks noGrp="1"/>
          </p:cNvSpPr>
          <p:nvPr>
            <p:ph type="pic" sz="quarter" idx="26"/>
          </p:nvPr>
        </p:nvSpPr>
        <p:spPr>
          <a:xfrm>
            <a:off x="6096003" y="3558880"/>
            <a:ext cx="2348948" cy="206739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7"/>
          </p:nvPr>
        </p:nvSpPr>
        <p:spPr>
          <a:xfrm>
            <a:off x="8669239" y="5784447"/>
            <a:ext cx="2359068" cy="465007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792592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776581" y="736909"/>
            <a:ext cx="44693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1" y="739048"/>
            <a:ext cx="5817251" cy="537366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7102257" y="1290183"/>
            <a:ext cx="3757811" cy="6776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8"/>
          </p:nvPr>
        </p:nvSpPr>
        <p:spPr>
          <a:xfrm>
            <a:off x="7114785" y="2166009"/>
            <a:ext cx="3746283" cy="9300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947261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7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4"/>
          </p:nvPr>
        </p:nvSpPr>
        <p:spPr>
          <a:xfrm>
            <a:off x="8218114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5"/>
          </p:nvPr>
        </p:nvSpPr>
        <p:spPr>
          <a:xfrm>
            <a:off x="4576202" y="734909"/>
            <a:ext cx="3135697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13412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4781656" y="736839"/>
            <a:ext cx="2628693" cy="5363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4944002" y="1378965"/>
            <a:ext cx="2312505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1">
                <a:latin typeface="+mj-lt"/>
              </a:defRPr>
            </a:lvl1pPr>
            <a:lvl2pPr marL="371400" indent="0" algn="r">
              <a:buNone/>
              <a:defRPr/>
            </a:lvl2pPr>
            <a:lvl3pPr marL="742801" indent="0" algn="r">
              <a:buNone/>
              <a:defRPr/>
            </a:lvl3pPr>
            <a:lvl4pPr marL="1114201" indent="0" algn="r">
              <a:buNone/>
              <a:defRPr/>
            </a:lvl4pPr>
            <a:lvl5pPr marL="1485610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950620" y="1988556"/>
            <a:ext cx="2286000" cy="286246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40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8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20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61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90" y="734909"/>
            <a:ext cx="3712879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537593" y="734909"/>
            <a:ext cx="3712879" cy="536713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39492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970596" y="6356352"/>
            <a:ext cx="5064369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defPPr>
              <a:defRPr lang="fr-FR"/>
            </a:defPPr>
            <a:lvl1pPr marL="0" algn="ctr" defTabSz="914218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b="1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6696" y="116636"/>
            <a:ext cx="1119273" cy="628925"/>
          </a:xfrm>
          <a:prstGeom prst="rect">
            <a:avLst/>
          </a:prstGeom>
        </p:spPr>
      </p:pic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7058000" cy="543595"/>
          </a:xfrm>
          <a:prstGeom prst="rect">
            <a:avLst/>
          </a:prstGeom>
        </p:spPr>
        <p:txBody>
          <a:bodyPr vert="horz" lIns="91424" tIns="45718" rIns="91424" bIns="45718" rtlCol="0" anchor="ctr">
            <a:noAutofit/>
          </a:bodyPr>
          <a:lstStyle>
            <a:lvl1pPr algn="l">
              <a:defRPr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39426" y="1052736"/>
            <a:ext cx="648073" cy="720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839417" y="1556795"/>
            <a:ext cx="10513168" cy="647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1">
                <a:latin typeface="Raleway" charset="0"/>
                <a:ea typeface="Raleway" charset="0"/>
                <a:cs typeface="Raleway" charset="0"/>
              </a:defRPr>
            </a:lvl1pPr>
            <a:lvl2pPr marL="371400" indent="0">
              <a:buNone/>
              <a:defRPr sz="1200"/>
            </a:lvl2pPr>
            <a:lvl3pPr marL="742801" indent="0">
              <a:buNone/>
              <a:defRPr sz="1200"/>
            </a:lvl3pPr>
            <a:lvl4pPr marL="1114201" indent="0">
              <a:buNone/>
              <a:defRPr sz="1200"/>
            </a:lvl4pPr>
            <a:lvl5pPr marL="1485610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8"/>
          <p:cNvSpPr>
            <a:spLocks noGrp="1"/>
          </p:cNvSpPr>
          <p:nvPr>
            <p:ph type="body" sz="quarter" idx="27"/>
          </p:nvPr>
        </p:nvSpPr>
        <p:spPr>
          <a:xfrm>
            <a:off x="839417" y="2276872"/>
            <a:ext cx="10513168" cy="36004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400" indent="0">
              <a:buNone/>
              <a:defRPr sz="1200"/>
            </a:lvl2pPr>
            <a:lvl3pPr marL="742801" indent="0">
              <a:buNone/>
              <a:defRPr sz="1200"/>
            </a:lvl3pPr>
            <a:lvl4pPr marL="1114201" indent="0">
              <a:buNone/>
              <a:defRPr sz="1200"/>
            </a:lvl4pPr>
            <a:lvl5pPr marL="1485610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535809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702DBA3-362D-4DA0-B8F7-8543E40A8ECF}"/>
              </a:ext>
            </a:extLst>
          </p:cNvPr>
          <p:cNvSpPr/>
          <p:nvPr userDrawn="1"/>
        </p:nvSpPr>
        <p:spPr>
          <a:xfrm>
            <a:off x="1" y="4715850"/>
            <a:ext cx="11321491" cy="1198751"/>
          </a:xfrm>
          <a:prstGeom prst="rect">
            <a:avLst/>
          </a:prstGeom>
          <a:solidFill>
            <a:srgbClr val="A7BD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xmlns="" id="{2FABA36B-0869-41E8-A604-F64E004C46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865" y="273596"/>
            <a:ext cx="10179339" cy="722997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41B8FC65-F1F1-43C2-8FAD-EE9C98845E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5305" y="1770695"/>
            <a:ext cx="6430311" cy="28419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37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>
                <a:solidFill>
                  <a:srgbClr val="597F6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9" name="Image 8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0FB2C301-2D10-4DF5-A57C-90587E32E7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xmlns="" id="{5CFAD924-885B-4F75-A31E-796E81AF0CA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xmlns="" id="{F732DFB7-9BE9-4A03-90F8-1825755F52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BFCC0D67-52A9-4CBB-B2A0-CB6FC9A89B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26096355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970596" y="6356352"/>
            <a:ext cx="5064369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defPPr>
              <a:defRPr lang="fr-FR"/>
            </a:defPPr>
            <a:lvl1pPr marL="0" algn="ctr" defTabSz="914218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b="1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7058000" cy="543595"/>
          </a:xfrm>
          <a:prstGeom prst="rect">
            <a:avLst/>
          </a:prstGeom>
        </p:spPr>
        <p:txBody>
          <a:bodyPr vert="horz" lIns="91424" tIns="45718" rIns="91424" bIns="45718" rtlCol="0" anchor="ctr">
            <a:noAutofit/>
          </a:bodyPr>
          <a:lstStyle>
            <a:lvl1pPr algn="l">
              <a:defRPr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39426" y="1052736"/>
            <a:ext cx="648073" cy="7200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FFFFFF"/>
              </a:solidFill>
            </a:endParaRPr>
          </a:p>
        </p:txBody>
      </p:sp>
      <p:sp>
        <p:nvSpPr>
          <p:cNvPr id="8" name="Espace réservé du texte 18"/>
          <p:cNvSpPr>
            <a:spLocks noGrp="1"/>
          </p:cNvSpPr>
          <p:nvPr>
            <p:ph type="body" sz="quarter" idx="24"/>
          </p:nvPr>
        </p:nvSpPr>
        <p:spPr>
          <a:xfrm>
            <a:off x="839417" y="1556795"/>
            <a:ext cx="10513168" cy="647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1">
                <a:latin typeface="Raleway" charset="0"/>
                <a:ea typeface="Raleway" charset="0"/>
                <a:cs typeface="Raleway" charset="0"/>
              </a:defRPr>
            </a:lvl1pPr>
            <a:lvl2pPr marL="371400" indent="0">
              <a:buNone/>
              <a:defRPr sz="1200"/>
            </a:lvl2pPr>
            <a:lvl3pPr marL="742801" indent="0">
              <a:buNone/>
              <a:defRPr sz="1200"/>
            </a:lvl3pPr>
            <a:lvl4pPr marL="1114201" indent="0">
              <a:buNone/>
              <a:defRPr sz="1200"/>
            </a:lvl4pPr>
            <a:lvl5pPr marL="1485610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18"/>
          <p:cNvSpPr>
            <a:spLocks noGrp="1"/>
          </p:cNvSpPr>
          <p:nvPr>
            <p:ph type="body" sz="quarter" idx="27"/>
          </p:nvPr>
        </p:nvSpPr>
        <p:spPr>
          <a:xfrm>
            <a:off x="839417" y="2276872"/>
            <a:ext cx="10513168" cy="36004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400" indent="0">
              <a:buNone/>
              <a:defRPr sz="1200"/>
            </a:lvl2pPr>
            <a:lvl3pPr marL="742801" indent="0">
              <a:buNone/>
              <a:defRPr sz="1200"/>
            </a:lvl3pPr>
            <a:lvl4pPr marL="1114201" indent="0">
              <a:buNone/>
              <a:defRPr sz="1200"/>
            </a:lvl4pPr>
            <a:lvl5pPr marL="1485610" indent="0">
              <a:buNone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869035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1 -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6696" y="116636"/>
            <a:ext cx="1119273" cy="628925"/>
          </a:xfrm>
          <a:prstGeom prst="rect">
            <a:avLst/>
          </a:prstGeom>
        </p:spPr>
      </p:pic>
      <p:sp>
        <p:nvSpPr>
          <p:cNvPr id="5" name="Espace réservé pour une image  4"/>
          <p:cNvSpPr>
            <a:spLocks noGrp="1"/>
          </p:cNvSpPr>
          <p:nvPr>
            <p:ph type="pic" sz="quarter" idx="10"/>
          </p:nvPr>
        </p:nvSpPr>
        <p:spPr>
          <a:xfrm>
            <a:off x="6384032" y="0"/>
            <a:ext cx="5807968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335360" y="1484784"/>
            <a:ext cx="5187008" cy="792088"/>
          </a:xfrm>
          <a:prstGeom prst="rect">
            <a:avLst/>
          </a:prstGeom>
        </p:spPr>
        <p:txBody>
          <a:bodyPr/>
          <a:lstStyle>
            <a:lvl1pPr algn="l">
              <a:defRPr sz="3600" baseline="0">
                <a:latin typeface="Raleway" charset="0"/>
                <a:ea typeface="Raleway" charset="0"/>
                <a:cs typeface="Raleway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27"/>
          </p:nvPr>
        </p:nvSpPr>
        <p:spPr>
          <a:xfrm>
            <a:off x="335360" y="2492900"/>
            <a:ext cx="5184576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Helvetica Light" charset="0"/>
                <a:ea typeface="Helvetica Light" charset="0"/>
                <a:cs typeface="Helvetica Light" charset="0"/>
              </a:defRPr>
            </a:lvl1pPr>
            <a:lvl2pPr marL="371400" indent="0">
              <a:buNone/>
              <a:defRPr/>
            </a:lvl2pPr>
            <a:lvl3pPr marL="742801" indent="0">
              <a:buNone/>
              <a:defRPr/>
            </a:lvl3pPr>
            <a:lvl4pPr marL="1114201" indent="0">
              <a:buNone/>
              <a:defRPr/>
            </a:lvl4pPr>
            <a:lvl5pPr marL="1485610" indent="0">
              <a:buNone/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639626" y="6309320"/>
            <a:ext cx="648073" cy="7200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1F497D"/>
              </a:solidFill>
            </a:endParaRP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63353" y="6309324"/>
            <a:ext cx="27432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927C4-E175-C740-A177-408ADA4B2892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9655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eils d'utilis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597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10671" y="849325"/>
            <a:ext cx="3960447" cy="58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4" name="ZoneTexte 11"/>
          <p:cNvSpPr txBox="1">
            <a:spLocks noChangeArrowheads="1"/>
          </p:cNvSpPr>
          <p:nvPr userDrawn="1"/>
        </p:nvSpPr>
        <p:spPr bwMode="auto">
          <a:xfrm>
            <a:off x="1008187" y="333377"/>
            <a:ext cx="4702908" cy="44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8" rIns="91424" bIns="45718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2300">
                <a:solidFill>
                  <a:srgbClr val="FFFFFF"/>
                </a:solidFill>
                <a:latin typeface="Verdana" pitchFamily="34" charset="0"/>
              </a:rPr>
              <a:t>Conseils d’utilisatio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8593026" y="6237288"/>
            <a:ext cx="3598985" cy="620712"/>
          </a:xfrm>
          <a:prstGeom prst="rect">
            <a:avLst/>
          </a:prstGeom>
          <a:solidFill>
            <a:srgbClr val="9597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ZoneTexte 5"/>
          <p:cNvSpPr txBox="1"/>
          <p:nvPr userDrawn="1"/>
        </p:nvSpPr>
        <p:spPr>
          <a:xfrm>
            <a:off x="1295408" y="1125547"/>
            <a:ext cx="10658231" cy="5630863"/>
          </a:xfrm>
          <a:prstGeom prst="rect">
            <a:avLst/>
          </a:prstGeom>
          <a:noFill/>
        </p:spPr>
        <p:txBody>
          <a:bodyPr lIns="91424" tIns="45718" rIns="91424" bIns="45718">
            <a:spAutoFit/>
          </a:bodyPr>
          <a:lstStyle/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police à utiliser est la </a:t>
            </a:r>
            <a:r>
              <a:rPr lang="fr-FR" sz="1200" b="1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</a:t>
            </a: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>
              <a:buFont typeface="Arial" panose="020B0604020202020204" pitchFamily="34" charset="0"/>
              <a:buChar char="•"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diapositive d’ouverture, le sommaire et les pages de contenu sont invariables.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s pages de parties sont disponibles en 5 couleurs pour vous permettre</a:t>
            </a:r>
            <a:b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personnaliser et de dynamiser votre présentation. Vous pouvez en choisir 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une pour l'ensemble du document ou les alterner selon vos besoins.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signature Direction</a:t>
            </a:r>
            <a:r>
              <a:rPr lang="fr-FR" sz="120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 Service ou Pôle se change dans le masque des diapositives.</a:t>
            </a:r>
            <a:b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ur y accéder : dans le menu sélectionner Affichage &gt; cliquer sur Masque des diapositives, Sélectionner la diapositive 1 puis sélectionner le bloc texte en bas à gauche et inscrire votre signature. Celle-ci se mettra à jour automatiquement dans toutes les autres diapositives </a:t>
            </a:r>
            <a:b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 masque. Une fois cette opération terminée, sélectionner l’affichage normal pour quitter </a:t>
            </a:r>
            <a:b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 masque des diapositives.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59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fin, n'oubliez pas de rester concis pour une meilleure appropriation de vos messages.</a:t>
            </a:r>
          </a:p>
          <a:p>
            <a:pPr marL="363474" indent="-18888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fr-FR" sz="12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59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nne utilisation !</a:t>
            </a:r>
          </a:p>
        </p:txBody>
      </p:sp>
      <p:grpSp>
        <p:nvGrpSpPr>
          <p:cNvPr id="7" name="Groupe 14"/>
          <p:cNvGrpSpPr>
            <a:grpSpLocks/>
          </p:cNvGrpSpPr>
          <p:nvPr userDrawn="1"/>
        </p:nvGrpSpPr>
        <p:grpSpPr bwMode="auto">
          <a:xfrm>
            <a:off x="1662735" y="3860801"/>
            <a:ext cx="8466015" cy="2124075"/>
            <a:chOff x="1247042" y="3897396"/>
            <a:chExt cx="6349294" cy="2123892"/>
          </a:xfrm>
        </p:grpSpPr>
        <p:pic>
          <p:nvPicPr>
            <p:cNvPr id="8" name="Image 7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1931" y="3905333"/>
              <a:ext cx="2929204" cy="2115955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9" name="Flèche droite 8"/>
            <p:cNvSpPr/>
            <p:nvPr userDrawn="1"/>
          </p:nvSpPr>
          <p:spPr>
            <a:xfrm rot="9004634">
              <a:off x="2548259" y="3991051"/>
              <a:ext cx="360472" cy="217468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500" b="1">
                <a:solidFill>
                  <a:srgbClr val="FFFFFF"/>
                </a:solidFill>
              </a:endParaRPr>
            </a:p>
          </p:txBody>
        </p:sp>
        <p:sp>
          <p:nvSpPr>
            <p:cNvPr id="10" name="Flèche droite 9"/>
            <p:cNvSpPr/>
            <p:nvPr userDrawn="1"/>
          </p:nvSpPr>
          <p:spPr>
            <a:xfrm rot="3065135">
              <a:off x="1175311" y="4234217"/>
              <a:ext cx="360331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500" b="1">
                <a:solidFill>
                  <a:srgbClr val="FFFFFF"/>
                </a:solidFill>
              </a:endParaRPr>
            </a:p>
          </p:txBody>
        </p:sp>
        <p:pic>
          <p:nvPicPr>
            <p:cNvPr id="11" name="Image 10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9727" y="3897396"/>
              <a:ext cx="2996609" cy="2123892"/>
            </a:xfrm>
            <a:prstGeom prst="rect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12" name="Flèche droite 11"/>
            <p:cNvSpPr/>
            <p:nvPr userDrawn="1"/>
          </p:nvSpPr>
          <p:spPr>
            <a:xfrm rot="3065135">
              <a:off x="5482722" y="5530299"/>
              <a:ext cx="358744" cy="216870"/>
            </a:xfrm>
            <a:prstGeom prst="rightArrow">
              <a:avLst/>
            </a:prstGeom>
            <a:solidFill>
              <a:srgbClr val="E049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500" b="1">
                <a:solidFill>
                  <a:srgbClr val="FFFFFF"/>
                </a:solidFill>
              </a:endParaRPr>
            </a:p>
          </p:txBody>
        </p:sp>
      </p:grpSp>
      <p:sp>
        <p:nvSpPr>
          <p:cNvPr id="1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1EDB5-4EE8-4FA8-BF0C-26D1D0395F9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527DA-CE35-4654-8421-7DAFAC967A5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52024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a texte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3935" y="1268413"/>
            <a:ext cx="11808884" cy="4680867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FB7FE8-CA00-4258-A8BF-7EE798BE998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369DC-1814-42A4-8E38-894FB6DD6E8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59580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 d'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386024" y="1476375"/>
            <a:ext cx="5410199" cy="4076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6471" y="4953004"/>
            <a:ext cx="51542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016642" y="6165859"/>
            <a:ext cx="4175369" cy="692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386473" y="2130440"/>
            <a:ext cx="5409515" cy="1470025"/>
          </a:xfrm>
        </p:spPr>
        <p:txBody>
          <a:bodyPr>
            <a:normAutofit/>
          </a:bodyPr>
          <a:lstStyle>
            <a:lvl1pPr algn="ctr">
              <a:defRPr sz="31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8802293" y="5082184"/>
            <a:ext cx="2635019" cy="694928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45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38C36-6A73-4E4D-875C-C4036FA31BE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CB3CFD-57F9-4865-BBF0-A202424DD5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0030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a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545873" y="1214450"/>
            <a:ext cx="7119815" cy="3976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770188" y="2152652"/>
            <a:ext cx="5152293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45151" y="1484787"/>
            <a:ext cx="7120108" cy="462260"/>
          </a:xfrm>
        </p:spPr>
        <p:txBody>
          <a:bodyPr>
            <a:normAutofit/>
          </a:bodyPr>
          <a:lstStyle>
            <a:lvl1pPr algn="ctr">
              <a:defRPr sz="2300" b="1" cap="none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84617" y="2434944"/>
            <a:ext cx="6432715" cy="2592288"/>
          </a:xfrm>
        </p:spPr>
        <p:txBody>
          <a:bodyPr numCol="2" spcCol="359934">
            <a:normAutofit/>
          </a:bodyPr>
          <a:lstStyle>
            <a:lvl1pPr marL="268235" indent="-268235">
              <a:lnSpc>
                <a:spcPct val="100000"/>
              </a:lnSpc>
              <a:buFont typeface="+mj-lt"/>
              <a:buAutoNum type="arabicPeriod"/>
              <a:defRPr sz="1500">
                <a:solidFill>
                  <a:srgbClr val="AE9A64"/>
                </a:solidFill>
              </a:defRPr>
            </a:lvl1pPr>
            <a:lvl2pPr marL="85709" marR="0" indent="-85709" algn="l" defTabSz="91421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 b="0">
                <a:solidFill>
                  <a:srgbClr val="959798"/>
                </a:solidFill>
              </a:defRPr>
            </a:lvl2pPr>
            <a:lvl3pPr marL="9142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43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55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65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86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47894-04B9-408F-BF10-A7465FAE280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F5694-A8F2-403C-996E-78791FED81A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55535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Partie_Gri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E4E7E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4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9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22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31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49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75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BDBB55-2E33-4625-8817-3E1724E31D68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6C039-623E-4CD4-B220-BF69D16C727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48883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Partie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F3D0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4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9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22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31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49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75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261D1E-0500-4D49-B623-0DA16A5AF1AA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F987A-9162-4A5E-BB9C-01E787537F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33026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 Parti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D9C5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4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9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22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31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49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75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65484-C0B4-4818-8A33-43C1454D01AD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915AAB-9A5C-455E-800F-C0015F59455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98180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 partie_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B7DD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4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9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22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31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49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75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8353DA-3DC2-4737-91FA-31A73A156FA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CE753-3CC1-41DF-92CE-89A3A82F01E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47942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xmlns="" id="{BD8AFEAC-8589-4C73-8CE1-B809B909B3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865" y="273596"/>
            <a:ext cx="10179339" cy="722997"/>
          </a:xfrm>
          <a:prstGeom prst="rect">
            <a:avLst/>
          </a:prstGeom>
        </p:spPr>
        <p:txBody>
          <a:bodyPr lIns="91424" tIns="45718" rIns="91424" bIns="45718">
            <a:no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rgbClr val="5B69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xmlns="" id="{1494F871-2715-44E7-8EA8-48C9E121BD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74813" y="2095503"/>
            <a:ext cx="3287712" cy="3328988"/>
          </a:xfrm>
          <a:prstGeom prst="rect">
            <a:avLst/>
          </a:prstGeom>
        </p:spPr>
        <p:txBody>
          <a:bodyPr lIns="91424" tIns="45718" rIns="91424" bIns="45718"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xmlns="" id="{AA9E3942-7F0E-4303-BD22-9F1F2B0CB8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37380" y="2059415"/>
            <a:ext cx="4703213" cy="33650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spcAft>
                <a:spcPts val="2400"/>
              </a:spcAft>
              <a:buFontTx/>
              <a:buNone/>
              <a:defRPr>
                <a:solidFill>
                  <a:srgbClr val="E6875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0" indent="0">
              <a:lnSpc>
                <a:spcPts val="2000"/>
              </a:lnSpc>
              <a:spcBef>
                <a:spcPts val="0"/>
              </a:spcBef>
              <a:buFontTx/>
              <a:buNone/>
              <a:defRPr sz="1300"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9" name="Image 8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xmlns="" id="{AB932D42-7BC6-4CD4-AB18-7E35FD51E1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175" y="6015583"/>
            <a:ext cx="720000" cy="711536"/>
          </a:xfrm>
          <a:prstGeom prst="rect">
            <a:avLst/>
          </a:prstGeom>
        </p:spPr>
      </p:pic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xmlns="" id="{E9739E53-ED66-41D8-B30B-5FC48F25BF0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62509" y="6480858"/>
            <a:ext cx="842219" cy="151881"/>
          </a:xfrm>
          <a:prstGeom prst="rect">
            <a:avLst/>
          </a:prstGeom>
        </p:spPr>
        <p:txBody>
          <a:bodyPr lIns="91424" tIns="45718" rIns="91424" bIns="45718"/>
          <a:lstStyle>
            <a:lvl1pPr>
              <a:defRPr sz="800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8638B0A2-0B5B-49C4-A315-0F6269C583F8}" type="datetime1">
              <a:rPr lang="fr-FR" smtClean="0"/>
              <a:pPr/>
              <a:t>15/03/2023</a:t>
            </a:fld>
            <a:endParaRPr lang="fr-FR" sz="80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xmlns="" id="{A1A34B09-D583-424D-9A6C-7C1FB411D36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2509" y="6261853"/>
            <a:ext cx="4903579" cy="218995"/>
          </a:xfrm>
          <a:prstGeom prst="rect">
            <a:avLst/>
          </a:prstGeom>
        </p:spPr>
        <p:txBody>
          <a:bodyPr lIns="91424" tIns="45718" rIns="91424" bIns="45718"/>
          <a:lstStyle>
            <a:lvl1pPr algn="l">
              <a:defRPr sz="900" b="1">
                <a:solidFill>
                  <a:srgbClr val="C3C6C7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r>
              <a:rPr lang="fr-FR"/>
              <a:t>Nom de la direction</a:t>
            </a:r>
            <a:endParaRPr lang="fr-FR" b="1"/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xmlns="" id="{0648AF68-205A-4674-990C-00D766C260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5776496" y="6251560"/>
            <a:ext cx="716400" cy="365125"/>
          </a:xfrm>
          <a:prstGeom prst="rect">
            <a:avLst/>
          </a:prstGeom>
        </p:spPr>
        <p:txBody>
          <a:bodyPr lIns="91424" tIns="45718" rIns="91424" bIns="45718"/>
          <a:lstStyle>
            <a:lvl1pPr algn="ctr">
              <a:defRPr sz="1100" b="1">
                <a:solidFill>
                  <a:srgbClr val="8F7332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fld id="{3EBAEE7A-B77D-462A-86EF-6803169BDDCE}" type="slidenum">
              <a:rPr lang="fr-FR" smtClean="0"/>
              <a:pPr/>
              <a:t>‹N°›</a:t>
            </a:fld>
            <a:endParaRPr lang="fr-FR" b="1"/>
          </a:p>
        </p:txBody>
      </p:sp>
    </p:spTree>
    <p:extLst>
      <p:ext uri="{BB962C8B-B14F-4D97-AF65-F5344CB8AC3E}">
        <p14:creationId xmlns:p14="http://schemas.microsoft.com/office/powerpoint/2010/main" val="140440849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 partie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57916" y="173050"/>
            <a:ext cx="11691815" cy="5881687"/>
          </a:xfrm>
          <a:prstGeom prst="rect">
            <a:avLst/>
          </a:prstGeom>
          <a:solidFill>
            <a:srgbClr val="B6D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883511" y="1803404"/>
            <a:ext cx="8411308" cy="2701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05779" y="4505328"/>
            <a:ext cx="4189047" cy="60325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83320" y="1988843"/>
            <a:ext cx="8412149" cy="1165364"/>
          </a:xfrm>
        </p:spPr>
        <p:txBody>
          <a:bodyPr anchor="ctr">
            <a:normAutofit/>
          </a:bodyPr>
          <a:lstStyle>
            <a:lvl1pPr algn="ctr">
              <a:defRPr sz="3200">
                <a:solidFill>
                  <a:srgbClr val="AE9A64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83320" y="3573016"/>
            <a:ext cx="8412149" cy="432048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900">
                <a:solidFill>
                  <a:srgbClr val="959798"/>
                </a:solidFill>
              </a:defRPr>
            </a:lvl1pPr>
            <a:lvl2pPr marL="357122" indent="0">
              <a:buFontTx/>
              <a:buNone/>
              <a:defRPr>
                <a:solidFill>
                  <a:srgbClr val="959798"/>
                </a:solidFill>
              </a:defRPr>
            </a:lvl2pPr>
            <a:lvl3pPr marL="714231" indent="0">
              <a:buFontTx/>
              <a:buNone/>
              <a:defRPr>
                <a:solidFill>
                  <a:srgbClr val="959798"/>
                </a:solidFill>
              </a:defRPr>
            </a:lvl3pPr>
            <a:lvl4pPr marL="1071349" indent="0">
              <a:buFontTx/>
              <a:buNone/>
              <a:defRPr>
                <a:solidFill>
                  <a:srgbClr val="959798"/>
                </a:solidFill>
              </a:defRPr>
            </a:lvl4pPr>
            <a:lvl5pPr marL="1439575" indent="0">
              <a:buFontTx/>
              <a:buNone/>
              <a:defRPr>
                <a:solidFill>
                  <a:srgbClr val="959798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3"/>
          </p:nvPr>
        </p:nvSpPr>
        <p:spPr>
          <a:xfrm>
            <a:off x="1883845" y="4005265"/>
            <a:ext cx="8411633" cy="3603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500" b="0">
                <a:solidFill>
                  <a:srgbClr val="959798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5B455-E360-449F-BD24-EE9979AB4D52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4922B-9ED9-4EF4-B3A3-31A2D23EBC9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483916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ia 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43341" y="1268417"/>
            <a:ext cx="5681744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88027" y="1268417"/>
            <a:ext cx="5664796" cy="4680867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1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15CCB-E653-4496-98A5-C130B6CAF8B6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0CEDD-389E-4669-9C9B-6B94E9A9800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74842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 userDrawn="1"/>
        </p:nvSpPr>
        <p:spPr>
          <a:xfrm>
            <a:off x="263772" y="973140"/>
            <a:ext cx="11689861" cy="57151"/>
          </a:xfrm>
          <a:prstGeom prst="rect">
            <a:avLst/>
          </a:prstGeom>
          <a:solidFill>
            <a:srgbClr val="AE9A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69C99-F8CE-4C7A-95A1-7B151E239E35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6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AC4D2-69D4-4E90-B274-E1330164380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90121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A6032-35D0-4EE6-9309-A341ADA6F5FB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07816-1D25-441E-8385-26899013A82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06947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73539" y="6092825"/>
            <a:ext cx="11687908" cy="0"/>
          </a:xfrm>
          <a:prstGeom prst="line">
            <a:avLst/>
          </a:prstGeom>
          <a:ln w="12700">
            <a:solidFill>
              <a:srgbClr val="C3C6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F443C-2087-4D4F-8F3E-FD9C8CC80DC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08115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26" descr="FOND5COVEA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6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4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6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116632"/>
            <a:ext cx="9120035" cy="1143000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7"/>
          <p:cNvSpPr>
            <a:spLocks noGrp="1"/>
          </p:cNvSpPr>
          <p:nvPr>
            <p:ph type="sldNum" sz="quarter" idx="10"/>
          </p:nvPr>
        </p:nvSpPr>
        <p:spPr>
          <a:xfrm>
            <a:off x="9892334" y="6397628"/>
            <a:ext cx="898769" cy="365125"/>
          </a:xfrm>
        </p:spPr>
        <p:txBody>
          <a:bodyPr/>
          <a:lstStyle>
            <a:lvl1pPr algn="ctr" eaLnBrk="0" hangingPunct="0"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350B613-5C10-4038-9A4E-D9AFA3A822F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72033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ITATION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3"/>
            <a:ext cx="12192000" cy="64220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694" tIns="43854" rIns="87694" bIns="4385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700" b="1">
              <a:solidFill>
                <a:prstClr val="white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986680" y="1263327"/>
            <a:ext cx="10220783" cy="393452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3700" b="0" i="0" baseline="0">
                <a:solidFill>
                  <a:srgbClr val="FFFFFF"/>
                </a:solidFill>
                <a:latin typeface="+mj-lt"/>
                <a:cs typeface="Aktiv Grotesk Light"/>
              </a:defRPr>
            </a:lvl1pPr>
            <a:lvl2pPr algn="ctr">
              <a:defRPr sz="2500" b="0" i="0">
                <a:latin typeface="Aktiv Grotesk Light"/>
                <a:cs typeface="Aktiv Grotesk Light"/>
              </a:defRPr>
            </a:lvl2pPr>
            <a:lvl3pPr algn="ctr">
              <a:defRPr sz="2000" b="0" i="0">
                <a:latin typeface="Aktiv Grotesk Light"/>
                <a:cs typeface="Aktiv Grotesk Light"/>
              </a:defRPr>
            </a:lvl3pPr>
            <a:lvl4pPr algn="ctr">
              <a:defRPr sz="1900" b="0" i="0">
                <a:latin typeface="Aktiv Grotesk Light"/>
                <a:cs typeface="Aktiv Grotesk Light"/>
              </a:defRPr>
            </a:lvl4pPr>
            <a:lvl5pPr algn="ctr">
              <a:defRPr sz="1900" b="0" i="0">
                <a:latin typeface="Aktiv Grotesk Light"/>
                <a:cs typeface="Aktiv Grotesk Light"/>
              </a:defRPr>
            </a:lvl5pPr>
          </a:lstStyle>
          <a:p>
            <a:pPr lvl="0"/>
            <a:r>
              <a:rPr lang="fr-FR"/>
              <a:t>Utilisez ce </a:t>
            </a:r>
            <a:r>
              <a:rPr lang="fr-FR" err="1"/>
              <a:t>slide</a:t>
            </a:r>
            <a:r>
              <a:rPr lang="fr-FR"/>
              <a:t> pour émettre une idée forte. Renforcer l’impact en passant les termes importants en vert.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4" hasCustomPrompt="1"/>
          </p:nvPr>
        </p:nvSpPr>
        <p:spPr>
          <a:xfrm>
            <a:off x="5562608" y="782956"/>
            <a:ext cx="1068917" cy="9620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900" baseline="0"/>
            </a:lvl1pPr>
          </a:lstStyle>
          <a:p>
            <a:r>
              <a:rPr lang="fr-FR"/>
              <a:t>Picto si besoin</a:t>
            </a:r>
          </a:p>
        </p:txBody>
      </p:sp>
      <p:sp>
        <p:nvSpPr>
          <p:cNvPr id="10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96800" y="6467232"/>
            <a:ext cx="3860800" cy="365125"/>
          </a:xfrm>
        </p:spPr>
        <p:txBody>
          <a:bodyPr lIns="91424" tIns="45718" rIns="91424" bIns="4571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2308" y="6461164"/>
            <a:ext cx="473025" cy="365125"/>
          </a:xfrm>
        </p:spPr>
        <p:txBody>
          <a:bodyPr/>
          <a:lstStyle/>
          <a:p>
            <a:fld id="{96C36DCD-F068-454D-8AB9-68186348921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53252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4.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 rot="16200000">
            <a:off x="10602267" y="4763543"/>
            <a:ext cx="2560320" cy="405695"/>
          </a:xfrm>
        </p:spPr>
        <p:txBody>
          <a:bodyPr/>
          <a:lstStyle/>
          <a:p>
            <a:r>
              <a:rPr lang="fr-FR"/>
              <a:t>07 / 04 / 2016</a:t>
            </a:r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96800" y="6467232"/>
            <a:ext cx="3860800" cy="365125"/>
          </a:xfrm>
        </p:spPr>
        <p:txBody>
          <a:bodyPr lIns="91424" tIns="45718" rIns="91424" bIns="4571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2308" y="6461164"/>
            <a:ext cx="473025" cy="365125"/>
          </a:xfrm>
        </p:spPr>
        <p:txBody>
          <a:bodyPr/>
          <a:lstStyle/>
          <a:p>
            <a:fld id="{96C36DCD-F068-454D-8AB9-68186348921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75255" y="177570"/>
            <a:ext cx="10972800" cy="541891"/>
          </a:xfrm>
        </p:spPr>
        <p:txBody>
          <a:bodyPr>
            <a:normAutofit/>
          </a:bodyPr>
          <a:lstStyle>
            <a:lvl1pPr algn="l">
              <a:defRPr sz="2000" b="0" i="0">
                <a:solidFill>
                  <a:schemeClr val="tx1"/>
                </a:solidFill>
                <a:latin typeface="+mj-lt"/>
                <a:cs typeface="Aktiv Grotesk Medium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357" y="948485"/>
            <a:ext cx="613721" cy="920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999071" y="973457"/>
            <a:ext cx="10248900" cy="5273083"/>
          </a:xfrm>
        </p:spPr>
        <p:txBody>
          <a:bodyPr anchor="t"/>
          <a:lstStyle>
            <a:lvl1pPr marL="0" indent="0">
              <a:spcBef>
                <a:spcPts val="433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867"/>
              </a:spcBef>
              <a:buNone/>
              <a:defRPr sz="1500">
                <a:latin typeface="+mj-lt"/>
              </a:defRPr>
            </a:lvl2pPr>
            <a:lvl3pPr marL="382113" indent="-171562">
              <a:spcBef>
                <a:spcPts val="217"/>
              </a:spcBef>
              <a:buClr>
                <a:schemeClr val="accent1"/>
              </a:buClr>
              <a:buSzPct val="100000"/>
              <a:buFont typeface="Lucida Grande"/>
              <a:buChar char="▸"/>
              <a:defRPr sz="1200"/>
            </a:lvl3pPr>
            <a:lvl4pPr marL="643352" indent="-171562">
              <a:spcBef>
                <a:spcPts val="217"/>
              </a:spcBef>
              <a:buFont typeface="Lucida Grande"/>
              <a:buChar char="▹"/>
              <a:defRPr sz="11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8743243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2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7886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363073" y="6496060"/>
            <a:ext cx="2743200" cy="3651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kumimoji="0" lang="fr-FR" sz="700" b="0" i="0" u="none" strike="noStrike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fld id="{47C9E606-E25D-8F45-A18F-E47F976A32C7}" type="slidenum">
              <a:rPr lang="uk-UA">
                <a:solidFill>
                  <a:prstClr val="black"/>
                </a:solidFill>
              </a:rPr>
              <a:pPr/>
              <a:t>‹N°›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68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ere de 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EF7B0913-A3FA-4000-9462-6EC33DD8E3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2887" y="2670756"/>
            <a:ext cx="3528000" cy="1898061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70A70C2C-3B81-4750-AE17-DF2A34ED4F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91" y="5892574"/>
            <a:ext cx="4032000" cy="241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317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Conten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3"/>
          <p:cNvSpPr>
            <a:spLocks noGrp="1"/>
          </p:cNvSpPr>
          <p:nvPr>
            <p:ph type="dt" sz="half" idx="10"/>
          </p:nvPr>
        </p:nvSpPr>
        <p:spPr>
          <a:xfrm rot="16200000">
            <a:off x="10602267" y="4763543"/>
            <a:ext cx="2560320" cy="405695"/>
          </a:xfrm>
        </p:spPr>
        <p:txBody>
          <a:bodyPr/>
          <a:lstStyle/>
          <a:p>
            <a:r>
              <a:rPr lang="fr-FR"/>
              <a:t>07 / 04 / 2016</a:t>
            </a:r>
          </a:p>
        </p:txBody>
      </p:sp>
      <p:sp>
        <p:nvSpPr>
          <p:cNvPr id="11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96800" y="6467232"/>
            <a:ext cx="3860800" cy="365125"/>
          </a:xfrm>
        </p:spPr>
        <p:txBody>
          <a:bodyPr lIns="91424" tIns="45718" rIns="91424" bIns="45718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2308" y="6461164"/>
            <a:ext cx="473025" cy="365125"/>
          </a:xfrm>
        </p:spPr>
        <p:txBody>
          <a:bodyPr/>
          <a:lstStyle/>
          <a:p>
            <a:fld id="{96C36DCD-F068-454D-8AB9-68186348921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75255" y="177570"/>
            <a:ext cx="10972800" cy="541891"/>
          </a:xfrm>
        </p:spPr>
        <p:txBody>
          <a:bodyPr>
            <a:normAutofit/>
          </a:bodyPr>
          <a:lstStyle>
            <a:lvl1pPr algn="l">
              <a:defRPr sz="2000" b="0" i="0">
                <a:solidFill>
                  <a:schemeClr val="tx1"/>
                </a:solidFill>
                <a:latin typeface="+mj-lt"/>
                <a:cs typeface="Aktiv Grotesk Medium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5357" y="948485"/>
            <a:ext cx="613721" cy="920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500" b="1">
              <a:solidFill>
                <a:srgbClr val="FFFFFF"/>
              </a:solidFill>
            </a:endParaRPr>
          </a:p>
        </p:txBody>
      </p:sp>
      <p:sp>
        <p:nvSpPr>
          <p:cNvPr id="1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999071" y="973457"/>
            <a:ext cx="10248900" cy="5273083"/>
          </a:xfrm>
        </p:spPr>
        <p:txBody>
          <a:bodyPr anchor="t"/>
          <a:lstStyle>
            <a:lvl1pPr marL="0" indent="0">
              <a:spcBef>
                <a:spcPts val="433"/>
              </a:spcBef>
              <a:spcAft>
                <a:spcPts val="0"/>
              </a:spcAft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867"/>
              </a:spcBef>
              <a:buNone/>
              <a:defRPr sz="1500">
                <a:latin typeface="+mj-lt"/>
              </a:defRPr>
            </a:lvl2pPr>
            <a:lvl3pPr marL="382113" indent="-171562">
              <a:spcBef>
                <a:spcPts val="217"/>
              </a:spcBef>
              <a:buClr>
                <a:schemeClr val="accent1"/>
              </a:buClr>
              <a:buSzPct val="100000"/>
              <a:buFont typeface="Lucida Grande"/>
              <a:buChar char="▸"/>
              <a:defRPr sz="1200"/>
            </a:lvl3pPr>
            <a:lvl4pPr marL="643352" indent="-171562">
              <a:spcBef>
                <a:spcPts val="217"/>
              </a:spcBef>
              <a:buFont typeface="Lucida Grande"/>
              <a:buChar char="▹"/>
              <a:defRPr sz="1100"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7449502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970596" y="6356352"/>
            <a:ext cx="5064369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defPPr>
              <a:defRPr lang="fr-FR"/>
            </a:defPPr>
            <a:lvl1pPr marL="0" algn="ctr" defTabSz="914196" rtl="0" eaLnBrk="1" latinLnBrk="0" hangingPunct="1">
              <a:defRPr sz="1100" kern="1200"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457095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6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94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92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94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86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80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75" algn="l" defTabSz="91419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rgbClr val="000000"/>
                </a:solidFill>
              </a:rPr>
              <a:t>ENSEIGNEMENT DESIGN THINKIN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Titre 8"/>
          <p:cNvSpPr>
            <a:spLocks noGrp="1"/>
          </p:cNvSpPr>
          <p:nvPr>
            <p:ph type="title" hasCustomPrompt="1"/>
          </p:nvPr>
        </p:nvSpPr>
        <p:spPr>
          <a:xfrm>
            <a:off x="2499693" y="2452345"/>
            <a:ext cx="7192616" cy="1325563"/>
          </a:xfrm>
          <a:prstGeom prst="rect">
            <a:avLst/>
          </a:prstGeom>
        </p:spPr>
        <p:txBody>
          <a:bodyPr/>
          <a:lstStyle>
            <a:lvl1pPr algn="ctr">
              <a:defRPr sz="4900" b="1"/>
            </a:lvl1pPr>
          </a:lstStyle>
          <a:p>
            <a:r>
              <a:rPr lang="fr-FR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5472747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3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53340" y="4144620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57" y="4277636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12097567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6629404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1014413" y="2465388"/>
            <a:ext cx="5426075" cy="155996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345024" y="5578972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4383156" y="5695181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4479091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0" y="11"/>
            <a:ext cx="12192000" cy="331967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3429011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4015412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047424" y="5347256"/>
            <a:ext cx="2097157" cy="626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5085556" y="5480270"/>
            <a:ext cx="2020888" cy="3937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</a:t>
            </a:r>
          </a:p>
        </p:txBody>
      </p:sp>
    </p:spTree>
    <p:extLst>
      <p:ext uri="{BB962C8B-B14F-4D97-AF65-F5344CB8AC3E}">
        <p14:creationId xmlns:p14="http://schemas.microsoft.com/office/powerpoint/2010/main" val="42172451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88" y="1710183"/>
            <a:ext cx="2822712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99645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4682988" y="1710183"/>
            <a:ext cx="2822712" cy="2822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93976" y="1858621"/>
            <a:ext cx="2604053" cy="2524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51074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7865168" y="1709155"/>
            <a:ext cx="2812773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47762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7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19111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250097" y="1997768"/>
            <a:ext cx="5695120" cy="14312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3382965" y="3717236"/>
            <a:ext cx="5426075" cy="121257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36734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407508" y="0"/>
            <a:ext cx="5198165" cy="6858000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6669779" y="924272"/>
            <a:ext cx="4004848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86003" y="1757779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6673091" y="1752533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7189317" y="243695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8" hasCustomPrompt="1"/>
          </p:nvPr>
        </p:nvSpPr>
        <p:spPr>
          <a:xfrm>
            <a:off x="6676407" y="243170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2</a:t>
            </a:r>
          </a:p>
        </p:txBody>
      </p:sp>
      <p:sp>
        <p:nvSpPr>
          <p:cNvPr id="15" name="Espace réservé du texte 10"/>
          <p:cNvSpPr>
            <a:spLocks noGrp="1"/>
          </p:cNvSpPr>
          <p:nvPr>
            <p:ph type="body" sz="quarter" idx="19" hasCustomPrompt="1"/>
          </p:nvPr>
        </p:nvSpPr>
        <p:spPr>
          <a:xfrm>
            <a:off x="7199257" y="3132695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6686347" y="312744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3</a:t>
            </a:r>
          </a:p>
        </p:txBody>
      </p:sp>
      <p:sp>
        <p:nvSpPr>
          <p:cNvPr id="17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7199257" y="3838371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2" hasCustomPrompt="1"/>
          </p:nvPr>
        </p:nvSpPr>
        <p:spPr>
          <a:xfrm>
            <a:off x="6686347" y="3833124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4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7202569" y="4517547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24" hasCustomPrompt="1"/>
          </p:nvPr>
        </p:nvSpPr>
        <p:spPr>
          <a:xfrm>
            <a:off x="6689659" y="4512299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5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7212509" y="5213283"/>
            <a:ext cx="3475383" cy="456716"/>
          </a:xfrm>
          <a:prstGeom prst="rect">
            <a:avLst/>
          </a:prstGeom>
        </p:spPr>
        <p:txBody>
          <a:bodyPr/>
          <a:lstStyle>
            <a:lvl1pPr marL="0" indent="0" algn="l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7"/>
          <p:cNvSpPr>
            <a:spLocks noGrp="1"/>
          </p:cNvSpPr>
          <p:nvPr>
            <p:ph type="body" sz="quarter" idx="26" hasCustomPrompt="1"/>
          </p:nvPr>
        </p:nvSpPr>
        <p:spPr>
          <a:xfrm>
            <a:off x="6699595" y="5208037"/>
            <a:ext cx="383692" cy="46720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100005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CALAIR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 : forme 7">
            <a:extLst>
              <a:ext uri="{FF2B5EF4-FFF2-40B4-BE49-F238E27FC236}">
                <a16:creationId xmlns:a16="http://schemas.microsoft.com/office/drawing/2014/main" xmlns="" id="{E9F4591C-1B93-45C7-82B1-3FB3F9AB5EC2}"/>
              </a:ext>
            </a:extLst>
          </p:cNvPr>
          <p:cNvSpPr/>
          <p:nvPr userDrawn="1"/>
        </p:nvSpPr>
        <p:spPr>
          <a:xfrm>
            <a:off x="0" y="2"/>
            <a:ext cx="11313704" cy="5929369"/>
          </a:xfrm>
          <a:custGeom>
            <a:avLst/>
            <a:gdLst>
              <a:gd name="connsiteX0" fmla="*/ 0 w 11313704"/>
              <a:gd name="connsiteY0" fmla="*/ 0 h 5929369"/>
              <a:gd name="connsiteX1" fmla="*/ 11313704 w 11313704"/>
              <a:gd name="connsiteY1" fmla="*/ 0 h 5929369"/>
              <a:gd name="connsiteX2" fmla="*/ 11313704 w 11313704"/>
              <a:gd name="connsiteY2" fmla="*/ 5929369 h 5929369"/>
              <a:gd name="connsiteX3" fmla="*/ 0 w 11313704"/>
              <a:gd name="connsiteY3" fmla="*/ 5929369 h 592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13704" h="5929369">
                <a:moveTo>
                  <a:pt x="0" y="0"/>
                </a:moveTo>
                <a:lnTo>
                  <a:pt x="11313704" y="0"/>
                </a:lnTo>
                <a:lnTo>
                  <a:pt x="11313704" y="5929369"/>
                </a:lnTo>
                <a:lnTo>
                  <a:pt x="0" y="59293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8" rIns="91436" bIns="45718" rtlCol="0" anchor="ctr">
            <a:noAutofit/>
          </a:bodyPr>
          <a:lstStyle/>
          <a:p>
            <a:pPr algn="ctr" defTabSz="1219170"/>
            <a:endParaRPr lang="fr-FR" sz="2400">
              <a:solidFill>
                <a:prstClr val="white"/>
              </a:solidFill>
            </a:endParaRP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xmlns="" id="{6C2D6843-1B96-4D2A-870E-BF161C140D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5918" y="3429002"/>
            <a:ext cx="5727697" cy="585788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r-FR" dirty="0"/>
              <a:t>Sous-titre de la partie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xmlns="" id="{7DAEF1B3-9279-4AAE-8E35-21B97EE7D4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918" y="2843214"/>
            <a:ext cx="5727697" cy="5857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fr-FR" sz="3600" b="1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Titre de la parti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xmlns="" id="{638C6941-90EF-482F-A340-4DC3EAB04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1476" y="6207124"/>
            <a:ext cx="54257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xmlns="" id="{BAC2821E-5880-4028-89E0-33241DD90FF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577513" y="6314457"/>
            <a:ext cx="528592" cy="151881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800" spc="0">
                <a:solidFill>
                  <a:schemeClr val="bg2"/>
                </a:solidFill>
                <a:latin typeface="+mn-lt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</a:lstStyle>
          <a:p>
            <a:pPr defTabSz="1219170"/>
            <a:fld id="{A955E7FF-0469-41AA-A090-837574A1EE2B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xmlns="" id="{2D226DB2-172A-4700-828F-F960B2037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3234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7"/>
          </p:nvPr>
        </p:nvSpPr>
        <p:spPr>
          <a:xfrm>
            <a:off x="8663607" y="735120"/>
            <a:ext cx="2348948" cy="28247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6" hasCustomPrompt="1"/>
          </p:nvPr>
        </p:nvSpPr>
        <p:spPr>
          <a:xfrm>
            <a:off x="2965803" y="1993604"/>
            <a:ext cx="1178823" cy="143540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00"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1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1928195" y="3429003"/>
            <a:ext cx="3230216" cy="456716"/>
          </a:xfrm>
          <a:prstGeom prst="rect">
            <a:avLst/>
          </a:prstGeom>
        </p:spPr>
        <p:txBody>
          <a:bodyPr/>
          <a:lstStyle>
            <a:lvl1pPr marL="0" indent="0" algn="ctr">
              <a:buFont typeface="+mj-lt"/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pour une image  7"/>
          <p:cNvSpPr>
            <a:spLocks noGrp="1"/>
          </p:cNvSpPr>
          <p:nvPr>
            <p:ph type="pic" sz="quarter" idx="18"/>
          </p:nvPr>
        </p:nvSpPr>
        <p:spPr>
          <a:xfrm>
            <a:off x="8663607" y="3750000"/>
            <a:ext cx="2348948" cy="236257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4" name="Espace réservé pour une image  7"/>
          <p:cNvSpPr>
            <a:spLocks noGrp="1"/>
          </p:cNvSpPr>
          <p:nvPr>
            <p:ph type="pic" sz="quarter" idx="19"/>
          </p:nvPr>
        </p:nvSpPr>
        <p:spPr>
          <a:xfrm>
            <a:off x="6092687" y="738435"/>
            <a:ext cx="2348948" cy="181592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5" name="Espace réservé pour une image  7"/>
          <p:cNvSpPr>
            <a:spLocks noGrp="1"/>
          </p:cNvSpPr>
          <p:nvPr>
            <p:ph type="pic" sz="quarter" idx="20"/>
          </p:nvPr>
        </p:nvSpPr>
        <p:spPr>
          <a:xfrm>
            <a:off x="6092687" y="2743213"/>
            <a:ext cx="2348948" cy="337267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6107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117977" y="556602"/>
            <a:ext cx="3956051" cy="363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934288" y="1441188"/>
            <a:ext cx="10306879" cy="4681329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5042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46088" y="736909"/>
            <a:ext cx="10299839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22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9" y="2216428"/>
            <a:ext cx="7802217" cy="28624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051857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44065" y="736909"/>
            <a:ext cx="10519507" cy="53841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Rectangle 1"/>
          <p:cNvSpPr/>
          <p:nvPr userDrawn="1"/>
        </p:nvSpPr>
        <p:spPr>
          <a:xfrm>
            <a:off x="1111529" y="924341"/>
            <a:ext cx="9968947" cy="50093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876261" y="1272222"/>
            <a:ext cx="4439480" cy="40750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5"/>
          </p:nvPr>
        </p:nvSpPr>
        <p:spPr>
          <a:xfrm>
            <a:off x="2194893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6253369" y="2209804"/>
            <a:ext cx="3738771" cy="286246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743461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934292" y="725561"/>
            <a:ext cx="10419521" cy="12641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3885513" y="933411"/>
            <a:ext cx="7284515" cy="85953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1123134" y="3456945"/>
            <a:ext cx="2608815" cy="245733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103248" y="937277"/>
            <a:ext cx="2628693" cy="2307947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3885513" y="2228281"/>
            <a:ext cx="7284515" cy="36859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9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188609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81" y="951370"/>
            <a:ext cx="5533299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1" y="2064517"/>
            <a:ext cx="5533299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xmlns="" id="{169DFE53-A37A-0C48-840C-800FC24412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89580" y="945837"/>
            <a:ext cx="4654463" cy="139289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xmlns="" id="{09F1D3CC-F123-6E44-B531-60B32B02000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89580" y="2467788"/>
            <a:ext cx="4654463" cy="141960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689569" y="4259484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69817" y="4090132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pour une image  7">
            <a:extLst>
              <a:ext uri="{FF2B5EF4-FFF2-40B4-BE49-F238E27FC236}">
                <a16:creationId xmlns:a16="http://schemas.microsoft.com/office/drawing/2014/main" xmlns="" id="{C448B7BC-85A6-EE4F-A616-FBEBB166FBB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99341" y="48926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5" name="Espace réservé du texte 10">
            <a:extLst>
              <a:ext uri="{FF2B5EF4-FFF2-40B4-BE49-F238E27FC236}">
                <a16:creationId xmlns:a16="http://schemas.microsoft.com/office/drawing/2014/main" xmlns="" id="{7B3AC243-6026-FD4E-B079-12E5C6FA93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79585" y="4723244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pour une image  7">
            <a:extLst>
              <a:ext uri="{FF2B5EF4-FFF2-40B4-BE49-F238E27FC236}">
                <a16:creationId xmlns:a16="http://schemas.microsoft.com/office/drawing/2014/main" xmlns="" id="{CA1FE1D8-51AF-E442-95A4-A566E0C12EF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699341" y="5528432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27" name="Espace réservé du texte 10">
            <a:extLst>
              <a:ext uri="{FF2B5EF4-FFF2-40B4-BE49-F238E27FC236}">
                <a16:creationId xmlns:a16="http://schemas.microsoft.com/office/drawing/2014/main" xmlns="" id="{FE834414-624E-9E46-90C3-54C34C3B2EC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9585" y="5359080"/>
            <a:ext cx="4083984" cy="553085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1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18" y="188248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08011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" y="-23472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934277" y="951370"/>
            <a:ext cx="5964371" cy="96519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/>
          </p:nvPr>
        </p:nvSpPr>
        <p:spPr>
          <a:xfrm>
            <a:off x="934281" y="2064517"/>
            <a:ext cx="5964371" cy="384976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5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pour une image  7">
            <a:extLst>
              <a:ext uri="{FF2B5EF4-FFF2-40B4-BE49-F238E27FC236}">
                <a16:creationId xmlns:a16="http://schemas.microsoft.com/office/drawing/2014/main" xmlns="" id="{C4BF084F-DEC1-684E-91A3-FFFF0679273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054284" y="953534"/>
            <a:ext cx="882095" cy="70902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xmlns="" id="{DC0E0B0F-D57B-9741-BB0B-6AD527A0A12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760" y="945837"/>
            <a:ext cx="3251808" cy="3079899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200" b="0" i="0">
                <a:solidFill>
                  <a:schemeClr val="accent3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xmlns="" id="{79811588-89CF-4C44-8C9D-FCD49428D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186353"/>
            <a:ext cx="944126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29" name="Espace réservé pour une image  7">
            <a:extLst>
              <a:ext uri="{FF2B5EF4-FFF2-40B4-BE49-F238E27FC236}">
                <a16:creationId xmlns:a16="http://schemas.microsoft.com/office/drawing/2014/main" xmlns="" id="{7111AA22-78DC-774D-B83C-F6DD529C502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55218" y="188248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54752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1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8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236789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1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8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08CEE8E7-8175-0744-A32F-77ACABA186E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0617" y="160278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1" name="Espace réservé pour une image  7">
            <a:extLst>
              <a:ext uri="{FF2B5EF4-FFF2-40B4-BE49-F238E27FC236}">
                <a16:creationId xmlns:a16="http://schemas.microsoft.com/office/drawing/2014/main" xmlns="" id="{6F6D79EA-94E6-4C45-985E-3C40D4DEE06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0617" y="3238500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12" name="Espace réservé pour une image  7">
            <a:extLst>
              <a:ext uri="{FF2B5EF4-FFF2-40B4-BE49-F238E27FC236}">
                <a16:creationId xmlns:a16="http://schemas.microsoft.com/office/drawing/2014/main" xmlns="" id="{DC78123D-C465-7545-8B55-033B4DC9BA8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19989" y="4874216"/>
            <a:ext cx="476051" cy="38100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849558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3817880-4F13-5844-9279-E9896F5148BC}"/>
              </a:ext>
            </a:extLst>
          </p:cNvPr>
          <p:cNvSpPr/>
          <p:nvPr userDrawn="1"/>
        </p:nvSpPr>
        <p:spPr>
          <a:xfrm>
            <a:off x="8" y="11"/>
            <a:ext cx="12191999" cy="826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8" rIns="91424" bIns="45718" rtlCol="0" anchor="ctr"/>
          <a:lstStyle/>
          <a:p>
            <a:pPr algn="ctr"/>
            <a:endParaRPr lang="fr-FR" sz="1200">
              <a:solidFill>
                <a:srgbClr val="4BACC6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E46C63-2144-994A-9910-C0009707C9CF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 hasCustomPrompt="1"/>
          </p:nvPr>
        </p:nvSpPr>
        <p:spPr>
          <a:xfrm>
            <a:off x="1768420" y="209825"/>
            <a:ext cx="4279541" cy="42037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1">
                <a:solidFill>
                  <a:schemeClr val="accent3"/>
                </a:solidFill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3"/>
          </p:nvPr>
        </p:nvSpPr>
        <p:spPr>
          <a:xfrm>
            <a:off x="1055218" y="211720"/>
            <a:ext cx="561257" cy="41848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pour une image  7">
            <a:extLst>
              <a:ext uri="{FF2B5EF4-FFF2-40B4-BE49-F238E27FC236}">
                <a16:creationId xmlns:a16="http://schemas.microsoft.com/office/drawing/2014/main" xmlns="" id="{D908C506-15CF-7D43-8E92-7FF844ED393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29403" y="1868500"/>
            <a:ext cx="4734168" cy="3211511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68947FB6-160E-0B46-9494-812B3610FB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5077" y="1868489"/>
            <a:ext cx="3956051" cy="46720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latin typeface="+mj-lt"/>
              </a:defRPr>
            </a:lvl1pPr>
            <a:lvl2pPr marL="371391" indent="0" algn="r">
              <a:buNone/>
              <a:defRPr/>
            </a:lvl2pPr>
            <a:lvl3pPr marL="742783" indent="0" algn="r">
              <a:buNone/>
              <a:defRPr/>
            </a:lvl3pPr>
            <a:lvl4pPr marL="1114173" indent="0" algn="r">
              <a:buNone/>
              <a:defRPr/>
            </a:lvl4pPr>
            <a:lvl5pPr marL="1485574" indent="0" algn="r">
              <a:buNone/>
              <a:defRPr/>
            </a:lvl5pPr>
          </a:lstStyle>
          <a:p>
            <a:pPr lvl="0"/>
            <a:r>
              <a:rPr lang="fr-FR"/>
              <a:t>Cliquez pour modifier</a:t>
            </a:r>
          </a:p>
        </p:txBody>
      </p:sp>
      <p:sp>
        <p:nvSpPr>
          <p:cNvPr id="10" name="Espace réservé du texte 10">
            <a:extLst>
              <a:ext uri="{FF2B5EF4-FFF2-40B4-BE49-F238E27FC236}">
                <a16:creationId xmlns:a16="http://schemas.microsoft.com/office/drawing/2014/main" xmlns="" id="{8A894792-C3A5-E94A-8092-E76C4CF69F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4413" y="2465400"/>
            <a:ext cx="5426075" cy="3617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xmlns="" id="{609B2549-72B4-1D4A-8B3C-19DE7C250B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29403" y="5233988"/>
            <a:ext cx="4734168" cy="887624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ctr">
              <a:buNone/>
              <a:defRPr sz="13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371391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74278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114173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485574" indent="0" algn="r">
              <a:buNone/>
              <a:defRPr sz="1300" b="0" i="0">
                <a:latin typeface="Helvetica Neue Light" charset="0"/>
                <a:ea typeface="Helvetica Neue Light" charset="0"/>
                <a:cs typeface="Helvetica Neue Light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299387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50" Type="http://schemas.openxmlformats.org/officeDocument/2006/relationships/slideLayout" Target="../slideLayouts/slideLayout60.xml"/><Relationship Id="rId55" Type="http://schemas.openxmlformats.org/officeDocument/2006/relationships/slideLayout" Target="../slideLayouts/slideLayout65.xml"/><Relationship Id="rId63" Type="http://schemas.openxmlformats.org/officeDocument/2006/relationships/slideLayout" Target="../slideLayouts/slideLayout73.xml"/><Relationship Id="rId68" Type="http://schemas.openxmlformats.org/officeDocument/2006/relationships/slideLayout" Target="../slideLayouts/slideLayout78.xml"/><Relationship Id="rId7" Type="http://schemas.openxmlformats.org/officeDocument/2006/relationships/slideLayout" Target="../slideLayouts/slideLayout17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3" Type="http://schemas.openxmlformats.org/officeDocument/2006/relationships/slideLayout" Target="../slideLayouts/slideLayout63.xml"/><Relationship Id="rId58" Type="http://schemas.openxmlformats.org/officeDocument/2006/relationships/slideLayout" Target="../slideLayouts/slideLayout68.xml"/><Relationship Id="rId6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67.xml"/><Relationship Id="rId61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62.xml"/><Relationship Id="rId60" Type="http://schemas.openxmlformats.org/officeDocument/2006/relationships/slideLayout" Target="../slideLayouts/slideLayout70.xml"/><Relationship Id="rId6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56" Type="http://schemas.openxmlformats.org/officeDocument/2006/relationships/slideLayout" Target="../slideLayouts/slideLayout66.xml"/><Relationship Id="rId64" Type="http://schemas.openxmlformats.org/officeDocument/2006/relationships/slideLayout" Target="../slideLayouts/slideLayout74.xml"/><Relationship Id="rId69" Type="http://schemas.openxmlformats.org/officeDocument/2006/relationships/slideLayout" Target="../slideLayouts/slideLayout79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72" Type="http://schemas.openxmlformats.org/officeDocument/2006/relationships/image" Target="../media/image5.jpeg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59" Type="http://schemas.openxmlformats.org/officeDocument/2006/relationships/slideLayout" Target="../slideLayouts/slideLayout69.xml"/><Relationship Id="rId67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54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72.xml"/><Relationship Id="rId70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50" Type="http://schemas.openxmlformats.org/officeDocument/2006/relationships/slideLayout" Target="../slideLayouts/slideLayout130.xml"/><Relationship Id="rId55" Type="http://schemas.openxmlformats.org/officeDocument/2006/relationships/slideLayout" Target="../slideLayouts/slideLayout135.xml"/><Relationship Id="rId63" Type="http://schemas.openxmlformats.org/officeDocument/2006/relationships/theme" Target="../theme/theme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21.xml"/><Relationship Id="rId54" Type="http://schemas.openxmlformats.org/officeDocument/2006/relationships/slideLayout" Target="../slideLayouts/slideLayout134.xml"/><Relationship Id="rId6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3" Type="http://schemas.openxmlformats.org/officeDocument/2006/relationships/slideLayout" Target="../slideLayouts/slideLayout133.xml"/><Relationship Id="rId58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slideLayout" Target="../slideLayouts/slideLayout129.xml"/><Relationship Id="rId57" Type="http://schemas.openxmlformats.org/officeDocument/2006/relationships/slideLayout" Target="../slideLayouts/slideLayout137.xml"/><Relationship Id="rId61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52" Type="http://schemas.openxmlformats.org/officeDocument/2006/relationships/slideLayout" Target="../slideLayouts/slideLayout132.xml"/><Relationship Id="rId6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slideLayout" Target="../slideLayouts/slideLayout128.xml"/><Relationship Id="rId56" Type="http://schemas.openxmlformats.org/officeDocument/2006/relationships/slideLayout" Target="../slideLayouts/slideLayout136.xml"/><Relationship Id="rId64" Type="http://schemas.openxmlformats.org/officeDocument/2006/relationships/image" Target="../media/image12.jpeg"/><Relationship Id="rId8" Type="http://schemas.openxmlformats.org/officeDocument/2006/relationships/slideLayout" Target="../slideLayouts/slideLayout88.xml"/><Relationship Id="rId51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59" Type="http://schemas.openxmlformats.org/officeDocument/2006/relationships/slideLayout" Target="../slideLayouts/slideLayout13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42" Type="http://schemas.openxmlformats.org/officeDocument/2006/relationships/slideLayout" Target="../slideLayouts/slideLayout184.xml"/><Relationship Id="rId47" Type="http://schemas.openxmlformats.org/officeDocument/2006/relationships/slideLayout" Target="../slideLayouts/slideLayout189.xml"/><Relationship Id="rId50" Type="http://schemas.openxmlformats.org/officeDocument/2006/relationships/slideLayout" Target="../slideLayouts/slideLayout192.xml"/><Relationship Id="rId55" Type="http://schemas.openxmlformats.org/officeDocument/2006/relationships/slideLayout" Target="../slideLayouts/slideLayout197.xml"/><Relationship Id="rId63" Type="http://schemas.openxmlformats.org/officeDocument/2006/relationships/theme" Target="../theme/theme4.xml"/><Relationship Id="rId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1.xml"/><Relationship Id="rId41" Type="http://schemas.openxmlformats.org/officeDocument/2006/relationships/slideLayout" Target="../slideLayouts/slideLayout183.xml"/><Relationship Id="rId54" Type="http://schemas.openxmlformats.org/officeDocument/2006/relationships/slideLayout" Target="../slideLayouts/slideLayout196.xml"/><Relationship Id="rId6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40" Type="http://schemas.openxmlformats.org/officeDocument/2006/relationships/slideLayout" Target="../slideLayouts/slideLayout182.xml"/><Relationship Id="rId45" Type="http://schemas.openxmlformats.org/officeDocument/2006/relationships/slideLayout" Target="../slideLayouts/slideLayout187.xml"/><Relationship Id="rId53" Type="http://schemas.openxmlformats.org/officeDocument/2006/relationships/slideLayout" Target="../slideLayouts/slideLayout195.xml"/><Relationship Id="rId58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49" Type="http://schemas.openxmlformats.org/officeDocument/2006/relationships/slideLayout" Target="../slideLayouts/slideLayout191.xml"/><Relationship Id="rId57" Type="http://schemas.openxmlformats.org/officeDocument/2006/relationships/slideLayout" Target="../slideLayouts/slideLayout199.xml"/><Relationship Id="rId61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4" Type="http://schemas.openxmlformats.org/officeDocument/2006/relationships/slideLayout" Target="../slideLayouts/slideLayout186.xml"/><Relationship Id="rId52" Type="http://schemas.openxmlformats.org/officeDocument/2006/relationships/slideLayout" Target="../slideLayouts/slideLayout194.xml"/><Relationship Id="rId6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43" Type="http://schemas.openxmlformats.org/officeDocument/2006/relationships/slideLayout" Target="../slideLayouts/slideLayout185.xml"/><Relationship Id="rId48" Type="http://schemas.openxmlformats.org/officeDocument/2006/relationships/slideLayout" Target="../slideLayouts/slideLayout190.xml"/><Relationship Id="rId56" Type="http://schemas.openxmlformats.org/officeDocument/2006/relationships/slideLayout" Target="../slideLayouts/slideLayout198.xml"/><Relationship Id="rId64" Type="http://schemas.openxmlformats.org/officeDocument/2006/relationships/image" Target="../media/image12.jpeg"/><Relationship Id="rId8" Type="http://schemas.openxmlformats.org/officeDocument/2006/relationships/slideLayout" Target="../slideLayouts/slideLayout150.xml"/><Relationship Id="rId51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slideLayout" Target="../slideLayouts/slideLayout180.xml"/><Relationship Id="rId46" Type="http://schemas.openxmlformats.org/officeDocument/2006/relationships/slideLayout" Target="../slideLayouts/slideLayout188.xml"/><Relationship Id="rId59" Type="http://schemas.openxmlformats.org/officeDocument/2006/relationships/slideLayout" Target="../slideLayouts/slideLayout201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0.xml"/><Relationship Id="rId21" Type="http://schemas.openxmlformats.org/officeDocument/2006/relationships/slideLayout" Target="../slideLayouts/slideLayout225.xml"/><Relationship Id="rId34" Type="http://schemas.openxmlformats.org/officeDocument/2006/relationships/slideLayout" Target="../slideLayouts/slideLayout238.xml"/><Relationship Id="rId42" Type="http://schemas.openxmlformats.org/officeDocument/2006/relationships/slideLayout" Target="../slideLayouts/slideLayout246.xml"/><Relationship Id="rId47" Type="http://schemas.openxmlformats.org/officeDocument/2006/relationships/slideLayout" Target="../slideLayouts/slideLayout251.xml"/><Relationship Id="rId50" Type="http://schemas.openxmlformats.org/officeDocument/2006/relationships/slideLayout" Target="../slideLayouts/slideLayout254.xml"/><Relationship Id="rId55" Type="http://schemas.openxmlformats.org/officeDocument/2006/relationships/slideLayout" Target="../slideLayouts/slideLayout259.xml"/><Relationship Id="rId63" Type="http://schemas.openxmlformats.org/officeDocument/2006/relationships/slideLayout" Target="../slideLayouts/slideLayout267.xml"/><Relationship Id="rId68" Type="http://schemas.openxmlformats.org/officeDocument/2006/relationships/slideLayout" Target="../slideLayouts/slideLayout272.xml"/><Relationship Id="rId76" Type="http://schemas.openxmlformats.org/officeDocument/2006/relationships/slideLayout" Target="../slideLayouts/slideLayout280.xml"/><Relationship Id="rId84" Type="http://schemas.openxmlformats.org/officeDocument/2006/relationships/slideLayout" Target="../slideLayouts/slideLayout288.xml"/><Relationship Id="rId89" Type="http://schemas.openxmlformats.org/officeDocument/2006/relationships/slideLayout" Target="../slideLayouts/slideLayout293.xml"/><Relationship Id="rId97" Type="http://schemas.openxmlformats.org/officeDocument/2006/relationships/theme" Target="../theme/theme5.xml"/><Relationship Id="rId7" Type="http://schemas.openxmlformats.org/officeDocument/2006/relationships/slideLayout" Target="../slideLayouts/slideLayout211.xml"/><Relationship Id="rId71" Type="http://schemas.openxmlformats.org/officeDocument/2006/relationships/slideLayout" Target="../slideLayouts/slideLayout275.xml"/><Relationship Id="rId92" Type="http://schemas.openxmlformats.org/officeDocument/2006/relationships/slideLayout" Target="../slideLayouts/slideLayout296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32" Type="http://schemas.openxmlformats.org/officeDocument/2006/relationships/slideLayout" Target="../slideLayouts/slideLayout236.xml"/><Relationship Id="rId37" Type="http://schemas.openxmlformats.org/officeDocument/2006/relationships/slideLayout" Target="../slideLayouts/slideLayout241.xml"/><Relationship Id="rId40" Type="http://schemas.openxmlformats.org/officeDocument/2006/relationships/slideLayout" Target="../slideLayouts/slideLayout244.xml"/><Relationship Id="rId45" Type="http://schemas.openxmlformats.org/officeDocument/2006/relationships/slideLayout" Target="../slideLayouts/slideLayout249.xml"/><Relationship Id="rId53" Type="http://schemas.openxmlformats.org/officeDocument/2006/relationships/slideLayout" Target="../slideLayouts/slideLayout257.xml"/><Relationship Id="rId58" Type="http://schemas.openxmlformats.org/officeDocument/2006/relationships/slideLayout" Target="../slideLayouts/slideLayout262.xml"/><Relationship Id="rId66" Type="http://schemas.openxmlformats.org/officeDocument/2006/relationships/slideLayout" Target="../slideLayouts/slideLayout270.xml"/><Relationship Id="rId74" Type="http://schemas.openxmlformats.org/officeDocument/2006/relationships/slideLayout" Target="../slideLayouts/slideLayout278.xml"/><Relationship Id="rId79" Type="http://schemas.openxmlformats.org/officeDocument/2006/relationships/slideLayout" Target="../slideLayouts/slideLayout283.xml"/><Relationship Id="rId87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09.xml"/><Relationship Id="rId61" Type="http://schemas.openxmlformats.org/officeDocument/2006/relationships/slideLayout" Target="../slideLayouts/slideLayout265.xml"/><Relationship Id="rId82" Type="http://schemas.openxmlformats.org/officeDocument/2006/relationships/slideLayout" Target="../slideLayouts/slideLayout286.xml"/><Relationship Id="rId90" Type="http://schemas.openxmlformats.org/officeDocument/2006/relationships/slideLayout" Target="../slideLayouts/slideLayout294.xml"/><Relationship Id="rId95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31.xml"/><Relationship Id="rId30" Type="http://schemas.openxmlformats.org/officeDocument/2006/relationships/slideLayout" Target="../slideLayouts/slideLayout234.xml"/><Relationship Id="rId35" Type="http://schemas.openxmlformats.org/officeDocument/2006/relationships/slideLayout" Target="../slideLayouts/slideLayout239.xml"/><Relationship Id="rId43" Type="http://schemas.openxmlformats.org/officeDocument/2006/relationships/slideLayout" Target="../slideLayouts/slideLayout247.xml"/><Relationship Id="rId48" Type="http://schemas.openxmlformats.org/officeDocument/2006/relationships/slideLayout" Target="../slideLayouts/slideLayout252.xml"/><Relationship Id="rId56" Type="http://schemas.openxmlformats.org/officeDocument/2006/relationships/slideLayout" Target="../slideLayouts/slideLayout260.xml"/><Relationship Id="rId64" Type="http://schemas.openxmlformats.org/officeDocument/2006/relationships/slideLayout" Target="../slideLayouts/slideLayout268.xml"/><Relationship Id="rId69" Type="http://schemas.openxmlformats.org/officeDocument/2006/relationships/slideLayout" Target="../slideLayouts/slideLayout273.xml"/><Relationship Id="rId77" Type="http://schemas.openxmlformats.org/officeDocument/2006/relationships/slideLayout" Target="../slideLayouts/slideLayout281.xml"/><Relationship Id="rId8" Type="http://schemas.openxmlformats.org/officeDocument/2006/relationships/slideLayout" Target="../slideLayouts/slideLayout212.xml"/><Relationship Id="rId51" Type="http://schemas.openxmlformats.org/officeDocument/2006/relationships/slideLayout" Target="../slideLayouts/slideLayout255.xml"/><Relationship Id="rId72" Type="http://schemas.openxmlformats.org/officeDocument/2006/relationships/slideLayout" Target="../slideLayouts/slideLayout276.xml"/><Relationship Id="rId80" Type="http://schemas.openxmlformats.org/officeDocument/2006/relationships/slideLayout" Target="../slideLayouts/slideLayout284.xml"/><Relationship Id="rId85" Type="http://schemas.openxmlformats.org/officeDocument/2006/relationships/slideLayout" Target="../slideLayouts/slideLayout289.xml"/><Relationship Id="rId93" Type="http://schemas.openxmlformats.org/officeDocument/2006/relationships/slideLayout" Target="../slideLayouts/slideLayout297.xml"/><Relationship Id="rId98" Type="http://schemas.openxmlformats.org/officeDocument/2006/relationships/image" Target="../media/image16.png"/><Relationship Id="rId3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33" Type="http://schemas.openxmlformats.org/officeDocument/2006/relationships/slideLayout" Target="../slideLayouts/slideLayout237.xml"/><Relationship Id="rId38" Type="http://schemas.openxmlformats.org/officeDocument/2006/relationships/slideLayout" Target="../slideLayouts/slideLayout242.xml"/><Relationship Id="rId46" Type="http://schemas.openxmlformats.org/officeDocument/2006/relationships/slideLayout" Target="../slideLayouts/slideLayout250.xml"/><Relationship Id="rId59" Type="http://schemas.openxmlformats.org/officeDocument/2006/relationships/slideLayout" Target="../slideLayouts/slideLayout263.xml"/><Relationship Id="rId67" Type="http://schemas.openxmlformats.org/officeDocument/2006/relationships/slideLayout" Target="../slideLayouts/slideLayout271.xml"/><Relationship Id="rId20" Type="http://schemas.openxmlformats.org/officeDocument/2006/relationships/slideLayout" Target="../slideLayouts/slideLayout224.xml"/><Relationship Id="rId41" Type="http://schemas.openxmlformats.org/officeDocument/2006/relationships/slideLayout" Target="../slideLayouts/slideLayout245.xml"/><Relationship Id="rId54" Type="http://schemas.openxmlformats.org/officeDocument/2006/relationships/slideLayout" Target="../slideLayouts/slideLayout258.xml"/><Relationship Id="rId62" Type="http://schemas.openxmlformats.org/officeDocument/2006/relationships/slideLayout" Target="../slideLayouts/slideLayout266.xml"/><Relationship Id="rId70" Type="http://schemas.openxmlformats.org/officeDocument/2006/relationships/slideLayout" Target="../slideLayouts/slideLayout274.xml"/><Relationship Id="rId75" Type="http://schemas.openxmlformats.org/officeDocument/2006/relationships/slideLayout" Target="../slideLayouts/slideLayout279.xml"/><Relationship Id="rId83" Type="http://schemas.openxmlformats.org/officeDocument/2006/relationships/slideLayout" Target="../slideLayouts/slideLayout287.xml"/><Relationship Id="rId88" Type="http://schemas.openxmlformats.org/officeDocument/2006/relationships/slideLayout" Target="../slideLayouts/slideLayout292.xml"/><Relationship Id="rId91" Type="http://schemas.openxmlformats.org/officeDocument/2006/relationships/slideLayout" Target="../slideLayouts/slideLayout295.xml"/><Relationship Id="rId96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32.xml"/><Relationship Id="rId36" Type="http://schemas.openxmlformats.org/officeDocument/2006/relationships/slideLayout" Target="../slideLayouts/slideLayout240.xml"/><Relationship Id="rId49" Type="http://schemas.openxmlformats.org/officeDocument/2006/relationships/slideLayout" Target="../slideLayouts/slideLayout253.xml"/><Relationship Id="rId57" Type="http://schemas.openxmlformats.org/officeDocument/2006/relationships/slideLayout" Target="../slideLayouts/slideLayout261.xml"/><Relationship Id="rId10" Type="http://schemas.openxmlformats.org/officeDocument/2006/relationships/slideLayout" Target="../slideLayouts/slideLayout214.xml"/><Relationship Id="rId31" Type="http://schemas.openxmlformats.org/officeDocument/2006/relationships/slideLayout" Target="../slideLayouts/slideLayout235.xml"/><Relationship Id="rId44" Type="http://schemas.openxmlformats.org/officeDocument/2006/relationships/slideLayout" Target="../slideLayouts/slideLayout248.xml"/><Relationship Id="rId52" Type="http://schemas.openxmlformats.org/officeDocument/2006/relationships/slideLayout" Target="../slideLayouts/slideLayout256.xml"/><Relationship Id="rId60" Type="http://schemas.openxmlformats.org/officeDocument/2006/relationships/slideLayout" Target="../slideLayouts/slideLayout264.xml"/><Relationship Id="rId65" Type="http://schemas.openxmlformats.org/officeDocument/2006/relationships/slideLayout" Target="../slideLayouts/slideLayout269.xml"/><Relationship Id="rId73" Type="http://schemas.openxmlformats.org/officeDocument/2006/relationships/slideLayout" Target="../slideLayouts/slideLayout277.xml"/><Relationship Id="rId78" Type="http://schemas.openxmlformats.org/officeDocument/2006/relationships/slideLayout" Target="../slideLayouts/slideLayout282.xml"/><Relationship Id="rId81" Type="http://schemas.openxmlformats.org/officeDocument/2006/relationships/slideLayout" Target="../slideLayouts/slideLayout285.xml"/><Relationship Id="rId86" Type="http://schemas.openxmlformats.org/officeDocument/2006/relationships/slideLayout" Target="../slideLayouts/slideLayout290.xml"/><Relationship Id="rId94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39" Type="http://schemas.openxmlformats.org/officeDocument/2006/relationships/slideLayout" Target="../slideLayouts/slideLayout243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21.xml"/><Relationship Id="rId34" Type="http://schemas.openxmlformats.org/officeDocument/2006/relationships/slideLayout" Target="../slideLayouts/slideLayout334.xml"/><Relationship Id="rId42" Type="http://schemas.openxmlformats.org/officeDocument/2006/relationships/slideLayout" Target="../slideLayouts/slideLayout342.xml"/><Relationship Id="rId47" Type="http://schemas.openxmlformats.org/officeDocument/2006/relationships/slideLayout" Target="../slideLayouts/slideLayout347.xml"/><Relationship Id="rId50" Type="http://schemas.openxmlformats.org/officeDocument/2006/relationships/slideLayout" Target="../slideLayouts/slideLayout350.xml"/><Relationship Id="rId55" Type="http://schemas.openxmlformats.org/officeDocument/2006/relationships/slideLayout" Target="../slideLayouts/slideLayout355.xml"/><Relationship Id="rId63" Type="http://schemas.openxmlformats.org/officeDocument/2006/relationships/slideLayout" Target="../slideLayouts/slideLayout363.xml"/><Relationship Id="rId68" Type="http://schemas.openxmlformats.org/officeDocument/2006/relationships/slideLayout" Target="../slideLayouts/slideLayout368.xml"/><Relationship Id="rId76" Type="http://schemas.openxmlformats.org/officeDocument/2006/relationships/slideLayout" Target="../slideLayouts/slideLayout376.xml"/><Relationship Id="rId84" Type="http://schemas.openxmlformats.org/officeDocument/2006/relationships/slideLayout" Target="../slideLayouts/slideLayout384.xml"/><Relationship Id="rId89" Type="http://schemas.openxmlformats.org/officeDocument/2006/relationships/slideLayout" Target="../slideLayouts/slideLayout389.xml"/><Relationship Id="rId97" Type="http://schemas.openxmlformats.org/officeDocument/2006/relationships/slideLayout" Target="../slideLayouts/slideLayout397.xml"/><Relationship Id="rId7" Type="http://schemas.openxmlformats.org/officeDocument/2006/relationships/slideLayout" Target="../slideLayouts/slideLayout307.xml"/><Relationship Id="rId71" Type="http://schemas.openxmlformats.org/officeDocument/2006/relationships/slideLayout" Target="../slideLayouts/slideLayout371.xml"/><Relationship Id="rId92" Type="http://schemas.openxmlformats.org/officeDocument/2006/relationships/slideLayout" Target="../slideLayouts/slideLayout392.xml"/><Relationship Id="rId2" Type="http://schemas.openxmlformats.org/officeDocument/2006/relationships/slideLayout" Target="../slideLayouts/slideLayout302.xml"/><Relationship Id="rId16" Type="http://schemas.openxmlformats.org/officeDocument/2006/relationships/slideLayout" Target="../slideLayouts/slideLayout316.xml"/><Relationship Id="rId29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11.xml"/><Relationship Id="rId24" Type="http://schemas.openxmlformats.org/officeDocument/2006/relationships/slideLayout" Target="../slideLayouts/slideLayout324.xml"/><Relationship Id="rId32" Type="http://schemas.openxmlformats.org/officeDocument/2006/relationships/slideLayout" Target="../slideLayouts/slideLayout332.xml"/><Relationship Id="rId37" Type="http://schemas.openxmlformats.org/officeDocument/2006/relationships/slideLayout" Target="../slideLayouts/slideLayout337.xml"/><Relationship Id="rId40" Type="http://schemas.openxmlformats.org/officeDocument/2006/relationships/slideLayout" Target="../slideLayouts/slideLayout340.xml"/><Relationship Id="rId45" Type="http://schemas.openxmlformats.org/officeDocument/2006/relationships/slideLayout" Target="../slideLayouts/slideLayout345.xml"/><Relationship Id="rId53" Type="http://schemas.openxmlformats.org/officeDocument/2006/relationships/slideLayout" Target="../slideLayouts/slideLayout353.xml"/><Relationship Id="rId58" Type="http://schemas.openxmlformats.org/officeDocument/2006/relationships/slideLayout" Target="../slideLayouts/slideLayout358.xml"/><Relationship Id="rId66" Type="http://schemas.openxmlformats.org/officeDocument/2006/relationships/slideLayout" Target="../slideLayouts/slideLayout366.xml"/><Relationship Id="rId74" Type="http://schemas.openxmlformats.org/officeDocument/2006/relationships/slideLayout" Target="../slideLayouts/slideLayout374.xml"/><Relationship Id="rId79" Type="http://schemas.openxmlformats.org/officeDocument/2006/relationships/slideLayout" Target="../slideLayouts/slideLayout379.xml"/><Relationship Id="rId87" Type="http://schemas.openxmlformats.org/officeDocument/2006/relationships/slideLayout" Target="../slideLayouts/slideLayout387.xml"/><Relationship Id="rId102" Type="http://schemas.openxmlformats.org/officeDocument/2006/relationships/image" Target="../media/image29.png"/><Relationship Id="rId5" Type="http://schemas.openxmlformats.org/officeDocument/2006/relationships/slideLayout" Target="../slideLayouts/slideLayout305.xml"/><Relationship Id="rId61" Type="http://schemas.openxmlformats.org/officeDocument/2006/relationships/slideLayout" Target="../slideLayouts/slideLayout361.xml"/><Relationship Id="rId82" Type="http://schemas.openxmlformats.org/officeDocument/2006/relationships/slideLayout" Target="../slideLayouts/slideLayout382.xml"/><Relationship Id="rId90" Type="http://schemas.openxmlformats.org/officeDocument/2006/relationships/slideLayout" Target="../slideLayouts/slideLayout390.xml"/><Relationship Id="rId95" Type="http://schemas.openxmlformats.org/officeDocument/2006/relationships/slideLayout" Target="../slideLayouts/slideLayout395.xml"/><Relationship Id="rId19" Type="http://schemas.openxmlformats.org/officeDocument/2006/relationships/slideLayout" Target="../slideLayouts/slideLayout319.xml"/><Relationship Id="rId14" Type="http://schemas.openxmlformats.org/officeDocument/2006/relationships/slideLayout" Target="../slideLayouts/slideLayout314.xml"/><Relationship Id="rId22" Type="http://schemas.openxmlformats.org/officeDocument/2006/relationships/slideLayout" Target="../slideLayouts/slideLayout322.xml"/><Relationship Id="rId27" Type="http://schemas.openxmlformats.org/officeDocument/2006/relationships/slideLayout" Target="../slideLayouts/slideLayout327.xml"/><Relationship Id="rId30" Type="http://schemas.openxmlformats.org/officeDocument/2006/relationships/slideLayout" Target="../slideLayouts/slideLayout330.xml"/><Relationship Id="rId35" Type="http://schemas.openxmlformats.org/officeDocument/2006/relationships/slideLayout" Target="../slideLayouts/slideLayout335.xml"/><Relationship Id="rId43" Type="http://schemas.openxmlformats.org/officeDocument/2006/relationships/slideLayout" Target="../slideLayouts/slideLayout343.xml"/><Relationship Id="rId48" Type="http://schemas.openxmlformats.org/officeDocument/2006/relationships/slideLayout" Target="../slideLayouts/slideLayout348.xml"/><Relationship Id="rId56" Type="http://schemas.openxmlformats.org/officeDocument/2006/relationships/slideLayout" Target="../slideLayouts/slideLayout356.xml"/><Relationship Id="rId64" Type="http://schemas.openxmlformats.org/officeDocument/2006/relationships/slideLayout" Target="../slideLayouts/slideLayout364.xml"/><Relationship Id="rId69" Type="http://schemas.openxmlformats.org/officeDocument/2006/relationships/slideLayout" Target="../slideLayouts/slideLayout369.xml"/><Relationship Id="rId77" Type="http://schemas.openxmlformats.org/officeDocument/2006/relationships/slideLayout" Target="../slideLayouts/slideLayout377.xml"/><Relationship Id="rId100" Type="http://schemas.openxmlformats.org/officeDocument/2006/relationships/slideLayout" Target="../slideLayouts/slideLayout400.xml"/><Relationship Id="rId8" Type="http://schemas.openxmlformats.org/officeDocument/2006/relationships/slideLayout" Target="../slideLayouts/slideLayout308.xml"/><Relationship Id="rId51" Type="http://schemas.openxmlformats.org/officeDocument/2006/relationships/slideLayout" Target="../slideLayouts/slideLayout351.xml"/><Relationship Id="rId72" Type="http://schemas.openxmlformats.org/officeDocument/2006/relationships/slideLayout" Target="../slideLayouts/slideLayout372.xml"/><Relationship Id="rId80" Type="http://schemas.openxmlformats.org/officeDocument/2006/relationships/slideLayout" Target="../slideLayouts/slideLayout380.xml"/><Relationship Id="rId85" Type="http://schemas.openxmlformats.org/officeDocument/2006/relationships/slideLayout" Target="../slideLayouts/slideLayout385.xml"/><Relationship Id="rId93" Type="http://schemas.openxmlformats.org/officeDocument/2006/relationships/slideLayout" Target="../slideLayouts/slideLayout393.xml"/><Relationship Id="rId98" Type="http://schemas.openxmlformats.org/officeDocument/2006/relationships/slideLayout" Target="../slideLayouts/slideLayout398.xml"/><Relationship Id="rId3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12.xml"/><Relationship Id="rId17" Type="http://schemas.openxmlformats.org/officeDocument/2006/relationships/slideLayout" Target="../slideLayouts/slideLayout317.xml"/><Relationship Id="rId25" Type="http://schemas.openxmlformats.org/officeDocument/2006/relationships/slideLayout" Target="../slideLayouts/slideLayout325.xml"/><Relationship Id="rId33" Type="http://schemas.openxmlformats.org/officeDocument/2006/relationships/slideLayout" Target="../slideLayouts/slideLayout333.xml"/><Relationship Id="rId38" Type="http://schemas.openxmlformats.org/officeDocument/2006/relationships/slideLayout" Target="../slideLayouts/slideLayout338.xml"/><Relationship Id="rId46" Type="http://schemas.openxmlformats.org/officeDocument/2006/relationships/slideLayout" Target="../slideLayouts/slideLayout346.xml"/><Relationship Id="rId59" Type="http://schemas.openxmlformats.org/officeDocument/2006/relationships/slideLayout" Target="../slideLayouts/slideLayout359.xml"/><Relationship Id="rId67" Type="http://schemas.openxmlformats.org/officeDocument/2006/relationships/slideLayout" Target="../slideLayouts/slideLayout367.xml"/><Relationship Id="rId20" Type="http://schemas.openxmlformats.org/officeDocument/2006/relationships/slideLayout" Target="../slideLayouts/slideLayout320.xml"/><Relationship Id="rId41" Type="http://schemas.openxmlformats.org/officeDocument/2006/relationships/slideLayout" Target="../slideLayouts/slideLayout341.xml"/><Relationship Id="rId54" Type="http://schemas.openxmlformats.org/officeDocument/2006/relationships/slideLayout" Target="../slideLayouts/slideLayout354.xml"/><Relationship Id="rId62" Type="http://schemas.openxmlformats.org/officeDocument/2006/relationships/slideLayout" Target="../slideLayouts/slideLayout362.xml"/><Relationship Id="rId70" Type="http://schemas.openxmlformats.org/officeDocument/2006/relationships/slideLayout" Target="../slideLayouts/slideLayout370.xml"/><Relationship Id="rId75" Type="http://schemas.openxmlformats.org/officeDocument/2006/relationships/slideLayout" Target="../slideLayouts/slideLayout375.xml"/><Relationship Id="rId83" Type="http://schemas.openxmlformats.org/officeDocument/2006/relationships/slideLayout" Target="../slideLayouts/slideLayout383.xml"/><Relationship Id="rId88" Type="http://schemas.openxmlformats.org/officeDocument/2006/relationships/slideLayout" Target="../slideLayouts/slideLayout388.xml"/><Relationship Id="rId91" Type="http://schemas.openxmlformats.org/officeDocument/2006/relationships/slideLayout" Target="../slideLayouts/slideLayout391.xml"/><Relationship Id="rId96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5" Type="http://schemas.openxmlformats.org/officeDocument/2006/relationships/slideLayout" Target="../slideLayouts/slideLayout315.xml"/><Relationship Id="rId23" Type="http://schemas.openxmlformats.org/officeDocument/2006/relationships/slideLayout" Target="../slideLayouts/slideLayout323.xml"/><Relationship Id="rId28" Type="http://schemas.openxmlformats.org/officeDocument/2006/relationships/slideLayout" Target="../slideLayouts/slideLayout328.xml"/><Relationship Id="rId36" Type="http://schemas.openxmlformats.org/officeDocument/2006/relationships/slideLayout" Target="../slideLayouts/slideLayout336.xml"/><Relationship Id="rId49" Type="http://schemas.openxmlformats.org/officeDocument/2006/relationships/slideLayout" Target="../slideLayouts/slideLayout349.xml"/><Relationship Id="rId57" Type="http://schemas.openxmlformats.org/officeDocument/2006/relationships/slideLayout" Target="../slideLayouts/slideLayout357.xml"/><Relationship Id="rId10" Type="http://schemas.openxmlformats.org/officeDocument/2006/relationships/slideLayout" Target="../slideLayouts/slideLayout310.xml"/><Relationship Id="rId31" Type="http://schemas.openxmlformats.org/officeDocument/2006/relationships/slideLayout" Target="../slideLayouts/slideLayout331.xml"/><Relationship Id="rId44" Type="http://schemas.openxmlformats.org/officeDocument/2006/relationships/slideLayout" Target="../slideLayouts/slideLayout344.xml"/><Relationship Id="rId52" Type="http://schemas.openxmlformats.org/officeDocument/2006/relationships/slideLayout" Target="../slideLayouts/slideLayout352.xml"/><Relationship Id="rId60" Type="http://schemas.openxmlformats.org/officeDocument/2006/relationships/slideLayout" Target="../slideLayouts/slideLayout360.xml"/><Relationship Id="rId65" Type="http://schemas.openxmlformats.org/officeDocument/2006/relationships/slideLayout" Target="../slideLayouts/slideLayout365.xml"/><Relationship Id="rId73" Type="http://schemas.openxmlformats.org/officeDocument/2006/relationships/slideLayout" Target="../slideLayouts/slideLayout373.xml"/><Relationship Id="rId78" Type="http://schemas.openxmlformats.org/officeDocument/2006/relationships/slideLayout" Target="../slideLayouts/slideLayout378.xml"/><Relationship Id="rId81" Type="http://schemas.openxmlformats.org/officeDocument/2006/relationships/slideLayout" Target="../slideLayouts/slideLayout381.xml"/><Relationship Id="rId86" Type="http://schemas.openxmlformats.org/officeDocument/2006/relationships/slideLayout" Target="../slideLayouts/slideLayout386.xml"/><Relationship Id="rId94" Type="http://schemas.openxmlformats.org/officeDocument/2006/relationships/slideLayout" Target="../slideLayouts/slideLayout394.xml"/><Relationship Id="rId99" Type="http://schemas.openxmlformats.org/officeDocument/2006/relationships/slideLayout" Target="../slideLayouts/slideLayout399.xml"/><Relationship Id="rId101" Type="http://schemas.openxmlformats.org/officeDocument/2006/relationships/theme" Target="../theme/theme6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Relationship Id="rId13" Type="http://schemas.openxmlformats.org/officeDocument/2006/relationships/slideLayout" Target="../slideLayouts/slideLayout313.xml"/><Relationship Id="rId18" Type="http://schemas.openxmlformats.org/officeDocument/2006/relationships/slideLayout" Target="../slideLayouts/slideLayout318.xml"/><Relationship Id="rId39" Type="http://schemas.openxmlformats.org/officeDocument/2006/relationships/slideLayout" Target="../slideLayouts/slideLayout339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26.xml"/><Relationship Id="rId21" Type="http://schemas.openxmlformats.org/officeDocument/2006/relationships/slideLayout" Target="../slideLayouts/slideLayout421.xml"/><Relationship Id="rId34" Type="http://schemas.openxmlformats.org/officeDocument/2006/relationships/slideLayout" Target="../slideLayouts/slideLayout434.xml"/><Relationship Id="rId42" Type="http://schemas.openxmlformats.org/officeDocument/2006/relationships/slideLayout" Target="../slideLayouts/slideLayout442.xml"/><Relationship Id="rId47" Type="http://schemas.openxmlformats.org/officeDocument/2006/relationships/slideLayout" Target="../slideLayouts/slideLayout447.xml"/><Relationship Id="rId50" Type="http://schemas.openxmlformats.org/officeDocument/2006/relationships/slideLayout" Target="../slideLayouts/slideLayout450.xml"/><Relationship Id="rId55" Type="http://schemas.openxmlformats.org/officeDocument/2006/relationships/slideLayout" Target="../slideLayouts/slideLayout455.xml"/><Relationship Id="rId63" Type="http://schemas.openxmlformats.org/officeDocument/2006/relationships/slideLayout" Target="../slideLayouts/slideLayout463.xml"/><Relationship Id="rId68" Type="http://schemas.openxmlformats.org/officeDocument/2006/relationships/slideLayout" Target="../slideLayouts/slideLayout468.xml"/><Relationship Id="rId76" Type="http://schemas.openxmlformats.org/officeDocument/2006/relationships/slideLayout" Target="../slideLayouts/slideLayout476.xml"/><Relationship Id="rId84" Type="http://schemas.openxmlformats.org/officeDocument/2006/relationships/slideLayout" Target="../slideLayouts/slideLayout484.xml"/><Relationship Id="rId89" Type="http://schemas.openxmlformats.org/officeDocument/2006/relationships/slideLayout" Target="../slideLayouts/slideLayout489.xml"/><Relationship Id="rId97" Type="http://schemas.openxmlformats.org/officeDocument/2006/relationships/theme" Target="../theme/theme7.xml"/><Relationship Id="rId7" Type="http://schemas.openxmlformats.org/officeDocument/2006/relationships/slideLayout" Target="../slideLayouts/slideLayout407.xml"/><Relationship Id="rId71" Type="http://schemas.openxmlformats.org/officeDocument/2006/relationships/slideLayout" Target="../slideLayouts/slideLayout471.xml"/><Relationship Id="rId92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02.xml"/><Relationship Id="rId16" Type="http://schemas.openxmlformats.org/officeDocument/2006/relationships/slideLayout" Target="../slideLayouts/slideLayout416.xml"/><Relationship Id="rId29" Type="http://schemas.openxmlformats.org/officeDocument/2006/relationships/slideLayout" Target="../slideLayouts/slideLayout429.xml"/><Relationship Id="rId11" Type="http://schemas.openxmlformats.org/officeDocument/2006/relationships/slideLayout" Target="../slideLayouts/slideLayout411.xml"/><Relationship Id="rId24" Type="http://schemas.openxmlformats.org/officeDocument/2006/relationships/slideLayout" Target="../slideLayouts/slideLayout424.xml"/><Relationship Id="rId32" Type="http://schemas.openxmlformats.org/officeDocument/2006/relationships/slideLayout" Target="../slideLayouts/slideLayout432.xml"/><Relationship Id="rId37" Type="http://schemas.openxmlformats.org/officeDocument/2006/relationships/slideLayout" Target="../slideLayouts/slideLayout437.xml"/><Relationship Id="rId40" Type="http://schemas.openxmlformats.org/officeDocument/2006/relationships/slideLayout" Target="../slideLayouts/slideLayout440.xml"/><Relationship Id="rId45" Type="http://schemas.openxmlformats.org/officeDocument/2006/relationships/slideLayout" Target="../slideLayouts/slideLayout445.xml"/><Relationship Id="rId53" Type="http://schemas.openxmlformats.org/officeDocument/2006/relationships/slideLayout" Target="../slideLayouts/slideLayout453.xml"/><Relationship Id="rId58" Type="http://schemas.openxmlformats.org/officeDocument/2006/relationships/slideLayout" Target="../slideLayouts/slideLayout458.xml"/><Relationship Id="rId66" Type="http://schemas.openxmlformats.org/officeDocument/2006/relationships/slideLayout" Target="../slideLayouts/slideLayout466.xml"/><Relationship Id="rId74" Type="http://schemas.openxmlformats.org/officeDocument/2006/relationships/slideLayout" Target="../slideLayouts/slideLayout474.xml"/><Relationship Id="rId79" Type="http://schemas.openxmlformats.org/officeDocument/2006/relationships/slideLayout" Target="../slideLayouts/slideLayout479.xml"/><Relationship Id="rId87" Type="http://schemas.openxmlformats.org/officeDocument/2006/relationships/slideLayout" Target="../slideLayouts/slideLayout487.xml"/><Relationship Id="rId5" Type="http://schemas.openxmlformats.org/officeDocument/2006/relationships/slideLayout" Target="../slideLayouts/slideLayout405.xml"/><Relationship Id="rId61" Type="http://schemas.openxmlformats.org/officeDocument/2006/relationships/slideLayout" Target="../slideLayouts/slideLayout461.xml"/><Relationship Id="rId82" Type="http://schemas.openxmlformats.org/officeDocument/2006/relationships/slideLayout" Target="../slideLayouts/slideLayout482.xml"/><Relationship Id="rId90" Type="http://schemas.openxmlformats.org/officeDocument/2006/relationships/slideLayout" Target="../slideLayouts/slideLayout490.xml"/><Relationship Id="rId95" Type="http://schemas.openxmlformats.org/officeDocument/2006/relationships/slideLayout" Target="../slideLayouts/slideLayout495.xml"/><Relationship Id="rId19" Type="http://schemas.openxmlformats.org/officeDocument/2006/relationships/slideLayout" Target="../slideLayouts/slideLayout419.xml"/><Relationship Id="rId14" Type="http://schemas.openxmlformats.org/officeDocument/2006/relationships/slideLayout" Target="../slideLayouts/slideLayout414.xml"/><Relationship Id="rId22" Type="http://schemas.openxmlformats.org/officeDocument/2006/relationships/slideLayout" Target="../slideLayouts/slideLayout422.xml"/><Relationship Id="rId27" Type="http://schemas.openxmlformats.org/officeDocument/2006/relationships/slideLayout" Target="../slideLayouts/slideLayout427.xml"/><Relationship Id="rId30" Type="http://schemas.openxmlformats.org/officeDocument/2006/relationships/slideLayout" Target="../slideLayouts/slideLayout430.xml"/><Relationship Id="rId35" Type="http://schemas.openxmlformats.org/officeDocument/2006/relationships/slideLayout" Target="../slideLayouts/slideLayout435.xml"/><Relationship Id="rId43" Type="http://schemas.openxmlformats.org/officeDocument/2006/relationships/slideLayout" Target="../slideLayouts/slideLayout443.xml"/><Relationship Id="rId48" Type="http://schemas.openxmlformats.org/officeDocument/2006/relationships/slideLayout" Target="../slideLayouts/slideLayout448.xml"/><Relationship Id="rId56" Type="http://schemas.openxmlformats.org/officeDocument/2006/relationships/slideLayout" Target="../slideLayouts/slideLayout456.xml"/><Relationship Id="rId64" Type="http://schemas.openxmlformats.org/officeDocument/2006/relationships/slideLayout" Target="../slideLayouts/slideLayout464.xml"/><Relationship Id="rId69" Type="http://schemas.openxmlformats.org/officeDocument/2006/relationships/slideLayout" Target="../slideLayouts/slideLayout469.xml"/><Relationship Id="rId77" Type="http://schemas.openxmlformats.org/officeDocument/2006/relationships/slideLayout" Target="../slideLayouts/slideLayout477.xml"/><Relationship Id="rId8" Type="http://schemas.openxmlformats.org/officeDocument/2006/relationships/slideLayout" Target="../slideLayouts/slideLayout408.xml"/><Relationship Id="rId51" Type="http://schemas.openxmlformats.org/officeDocument/2006/relationships/slideLayout" Target="../slideLayouts/slideLayout451.xml"/><Relationship Id="rId72" Type="http://schemas.openxmlformats.org/officeDocument/2006/relationships/slideLayout" Target="../slideLayouts/slideLayout472.xml"/><Relationship Id="rId80" Type="http://schemas.openxmlformats.org/officeDocument/2006/relationships/slideLayout" Target="../slideLayouts/slideLayout480.xml"/><Relationship Id="rId85" Type="http://schemas.openxmlformats.org/officeDocument/2006/relationships/slideLayout" Target="../slideLayouts/slideLayout485.xml"/><Relationship Id="rId93" Type="http://schemas.openxmlformats.org/officeDocument/2006/relationships/slideLayout" Target="../slideLayouts/slideLayout493.xml"/><Relationship Id="rId98" Type="http://schemas.openxmlformats.org/officeDocument/2006/relationships/image" Target="../media/image16.png"/><Relationship Id="rId3" Type="http://schemas.openxmlformats.org/officeDocument/2006/relationships/slideLayout" Target="../slideLayouts/slideLayout403.xml"/><Relationship Id="rId12" Type="http://schemas.openxmlformats.org/officeDocument/2006/relationships/slideLayout" Target="../slideLayouts/slideLayout412.xml"/><Relationship Id="rId17" Type="http://schemas.openxmlformats.org/officeDocument/2006/relationships/slideLayout" Target="../slideLayouts/slideLayout417.xml"/><Relationship Id="rId25" Type="http://schemas.openxmlformats.org/officeDocument/2006/relationships/slideLayout" Target="../slideLayouts/slideLayout425.xml"/><Relationship Id="rId33" Type="http://schemas.openxmlformats.org/officeDocument/2006/relationships/slideLayout" Target="../slideLayouts/slideLayout433.xml"/><Relationship Id="rId38" Type="http://schemas.openxmlformats.org/officeDocument/2006/relationships/slideLayout" Target="../slideLayouts/slideLayout438.xml"/><Relationship Id="rId46" Type="http://schemas.openxmlformats.org/officeDocument/2006/relationships/slideLayout" Target="../slideLayouts/slideLayout446.xml"/><Relationship Id="rId59" Type="http://schemas.openxmlformats.org/officeDocument/2006/relationships/slideLayout" Target="../slideLayouts/slideLayout459.xml"/><Relationship Id="rId67" Type="http://schemas.openxmlformats.org/officeDocument/2006/relationships/slideLayout" Target="../slideLayouts/slideLayout467.xml"/><Relationship Id="rId20" Type="http://schemas.openxmlformats.org/officeDocument/2006/relationships/slideLayout" Target="../slideLayouts/slideLayout420.xml"/><Relationship Id="rId41" Type="http://schemas.openxmlformats.org/officeDocument/2006/relationships/slideLayout" Target="../slideLayouts/slideLayout441.xml"/><Relationship Id="rId54" Type="http://schemas.openxmlformats.org/officeDocument/2006/relationships/slideLayout" Target="../slideLayouts/slideLayout454.xml"/><Relationship Id="rId62" Type="http://schemas.openxmlformats.org/officeDocument/2006/relationships/slideLayout" Target="../slideLayouts/slideLayout462.xml"/><Relationship Id="rId70" Type="http://schemas.openxmlformats.org/officeDocument/2006/relationships/slideLayout" Target="../slideLayouts/slideLayout470.xml"/><Relationship Id="rId75" Type="http://schemas.openxmlformats.org/officeDocument/2006/relationships/slideLayout" Target="../slideLayouts/slideLayout475.xml"/><Relationship Id="rId83" Type="http://schemas.openxmlformats.org/officeDocument/2006/relationships/slideLayout" Target="../slideLayouts/slideLayout483.xml"/><Relationship Id="rId88" Type="http://schemas.openxmlformats.org/officeDocument/2006/relationships/slideLayout" Target="../slideLayouts/slideLayout488.xml"/><Relationship Id="rId91" Type="http://schemas.openxmlformats.org/officeDocument/2006/relationships/slideLayout" Target="../slideLayouts/slideLayout491.xml"/><Relationship Id="rId96" Type="http://schemas.openxmlformats.org/officeDocument/2006/relationships/slideLayout" Target="../slideLayouts/slideLayout496.xml"/><Relationship Id="rId1" Type="http://schemas.openxmlformats.org/officeDocument/2006/relationships/slideLayout" Target="../slideLayouts/slideLayout401.xml"/><Relationship Id="rId6" Type="http://schemas.openxmlformats.org/officeDocument/2006/relationships/slideLayout" Target="../slideLayouts/slideLayout406.xml"/><Relationship Id="rId15" Type="http://schemas.openxmlformats.org/officeDocument/2006/relationships/slideLayout" Target="../slideLayouts/slideLayout415.xml"/><Relationship Id="rId23" Type="http://schemas.openxmlformats.org/officeDocument/2006/relationships/slideLayout" Target="../slideLayouts/slideLayout423.xml"/><Relationship Id="rId28" Type="http://schemas.openxmlformats.org/officeDocument/2006/relationships/slideLayout" Target="../slideLayouts/slideLayout428.xml"/><Relationship Id="rId36" Type="http://schemas.openxmlformats.org/officeDocument/2006/relationships/slideLayout" Target="../slideLayouts/slideLayout436.xml"/><Relationship Id="rId49" Type="http://schemas.openxmlformats.org/officeDocument/2006/relationships/slideLayout" Target="../slideLayouts/slideLayout449.xml"/><Relationship Id="rId57" Type="http://schemas.openxmlformats.org/officeDocument/2006/relationships/slideLayout" Target="../slideLayouts/slideLayout457.xml"/><Relationship Id="rId10" Type="http://schemas.openxmlformats.org/officeDocument/2006/relationships/slideLayout" Target="../slideLayouts/slideLayout410.xml"/><Relationship Id="rId31" Type="http://schemas.openxmlformats.org/officeDocument/2006/relationships/slideLayout" Target="../slideLayouts/slideLayout431.xml"/><Relationship Id="rId44" Type="http://schemas.openxmlformats.org/officeDocument/2006/relationships/slideLayout" Target="../slideLayouts/slideLayout444.xml"/><Relationship Id="rId52" Type="http://schemas.openxmlformats.org/officeDocument/2006/relationships/slideLayout" Target="../slideLayouts/slideLayout452.xml"/><Relationship Id="rId60" Type="http://schemas.openxmlformats.org/officeDocument/2006/relationships/slideLayout" Target="../slideLayouts/slideLayout460.xml"/><Relationship Id="rId65" Type="http://schemas.openxmlformats.org/officeDocument/2006/relationships/slideLayout" Target="../slideLayouts/slideLayout465.xml"/><Relationship Id="rId73" Type="http://schemas.openxmlformats.org/officeDocument/2006/relationships/slideLayout" Target="../slideLayouts/slideLayout473.xml"/><Relationship Id="rId78" Type="http://schemas.openxmlformats.org/officeDocument/2006/relationships/slideLayout" Target="../slideLayouts/slideLayout478.xml"/><Relationship Id="rId81" Type="http://schemas.openxmlformats.org/officeDocument/2006/relationships/slideLayout" Target="../slideLayouts/slideLayout481.xml"/><Relationship Id="rId86" Type="http://schemas.openxmlformats.org/officeDocument/2006/relationships/slideLayout" Target="../slideLayouts/slideLayout486.xml"/><Relationship Id="rId94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04.xml"/><Relationship Id="rId9" Type="http://schemas.openxmlformats.org/officeDocument/2006/relationships/slideLayout" Target="../slideLayouts/slideLayout409.xml"/><Relationship Id="rId13" Type="http://schemas.openxmlformats.org/officeDocument/2006/relationships/slideLayout" Target="../slideLayouts/slideLayout413.xml"/><Relationship Id="rId18" Type="http://schemas.openxmlformats.org/officeDocument/2006/relationships/slideLayout" Target="../slideLayouts/slideLayout418.xml"/><Relationship Id="rId39" Type="http://schemas.openxmlformats.org/officeDocument/2006/relationships/slideLayout" Target="../slideLayouts/slideLayout4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6733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7" r:id="rId8"/>
    <p:sldLayoutId id="2147484089" r:id="rId9"/>
    <p:sldLayoutId id="2147484090" r:id="rId10"/>
  </p:sldLayoutIdLst>
  <p:hf hdr="0"/>
  <p:txStyles>
    <p:titleStyle>
      <a:lvl1pPr algn="l" defTabSz="9142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0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4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7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8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7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7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44592" y="130175"/>
            <a:ext cx="11799279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8" rIns="9142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44592" y="1268420"/>
            <a:ext cx="11809047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8" rIns="9142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723924" y="6291264"/>
            <a:ext cx="28448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800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042EED-C3EB-4C7D-B2AF-923FEB51914F}" type="datetime2">
              <a:rPr lang="fr-FR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ercredi 15 mars 2023</a:t>
            </a:fld>
            <a:endParaRPr lang="fr-FR" b="1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63581" y="6291264"/>
            <a:ext cx="685801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1100" b="1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8A2369-3512-4720-A9C6-0F8DF88EF24F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/>
          </a:p>
        </p:txBody>
      </p:sp>
      <p:pic>
        <p:nvPicPr>
          <p:cNvPr id="1030" name="Image 7" descr="Covea.jpg"/>
          <p:cNvPicPr>
            <a:picLocks noChangeAspect="1"/>
          </p:cNvPicPr>
          <p:nvPr/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9381" y="6251586"/>
            <a:ext cx="771769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ZoneTexte 10"/>
          <p:cNvSpPr txBox="1">
            <a:spLocks noChangeArrowheads="1"/>
          </p:cNvSpPr>
          <p:nvPr/>
        </p:nvSpPr>
        <p:spPr bwMode="auto">
          <a:xfrm>
            <a:off x="123097" y="6303753"/>
            <a:ext cx="5396523" cy="338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8" rIns="91424" bIns="45718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800">
                <a:solidFill>
                  <a:srgbClr val="C3C6C7"/>
                </a:solidFill>
                <a:latin typeface="Verdana" pitchFamily="34" charset="0"/>
              </a:rPr>
              <a:t>Direction ou Service ou Pôle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800">
                <a:solidFill>
                  <a:srgbClr val="AE9A64"/>
                </a:solidFill>
                <a:latin typeface="Verdana" pitchFamily="34" charset="0"/>
              </a:rPr>
              <a:t>DAV – PROJET SELFCARE</a:t>
            </a:r>
          </a:p>
        </p:txBody>
      </p:sp>
    </p:spTree>
    <p:extLst>
      <p:ext uri="{BB962C8B-B14F-4D97-AF65-F5344CB8AC3E}">
        <p14:creationId xmlns:p14="http://schemas.microsoft.com/office/powerpoint/2010/main" val="3957400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8" r:id="rId30"/>
    <p:sldLayoutId id="2147483699" r:id="rId31"/>
    <p:sldLayoutId id="2147483700" r:id="rId32"/>
    <p:sldLayoutId id="2147483701" r:id="rId33"/>
    <p:sldLayoutId id="2147483702" r:id="rId34"/>
    <p:sldLayoutId id="2147483703" r:id="rId35"/>
    <p:sldLayoutId id="2147483704" r:id="rId36"/>
    <p:sldLayoutId id="2147483705" r:id="rId37"/>
    <p:sldLayoutId id="2147483706" r:id="rId38"/>
    <p:sldLayoutId id="2147483707" r:id="rId39"/>
    <p:sldLayoutId id="2147483708" r:id="rId40"/>
    <p:sldLayoutId id="2147483709" r:id="rId41"/>
    <p:sldLayoutId id="2147483710" r:id="rId42"/>
    <p:sldLayoutId id="2147483711" r:id="rId43"/>
    <p:sldLayoutId id="2147483712" r:id="rId44"/>
    <p:sldLayoutId id="2147483713" r:id="rId45"/>
    <p:sldLayoutId id="2147483714" r:id="rId46"/>
    <p:sldLayoutId id="2147483715" r:id="rId47"/>
    <p:sldLayoutId id="2147483716" r:id="rId48"/>
    <p:sldLayoutId id="2147483717" r:id="rId49"/>
    <p:sldLayoutId id="2147483718" r:id="rId50"/>
    <p:sldLayoutId id="2147483719" r:id="rId51"/>
    <p:sldLayoutId id="2147483720" r:id="rId52"/>
    <p:sldLayoutId id="2147483721" r:id="rId53"/>
    <p:sldLayoutId id="2147483722" r:id="rId54"/>
    <p:sldLayoutId id="2147483723" r:id="rId55"/>
    <p:sldLayoutId id="2147483724" r:id="rId56"/>
    <p:sldLayoutId id="2147483725" r:id="rId57"/>
    <p:sldLayoutId id="2147483726" r:id="rId58"/>
    <p:sldLayoutId id="2147483727" r:id="rId59"/>
    <p:sldLayoutId id="2147483728" r:id="rId60"/>
    <p:sldLayoutId id="2147483729" r:id="rId61"/>
    <p:sldLayoutId id="2147483730" r:id="rId62"/>
    <p:sldLayoutId id="2147483731" r:id="rId63"/>
    <p:sldLayoutId id="2147483732" r:id="rId64"/>
    <p:sldLayoutId id="2147483733" r:id="rId65"/>
    <p:sldLayoutId id="2147483734" r:id="rId66"/>
    <p:sldLayoutId id="2147483735" r:id="rId67"/>
    <p:sldLayoutId id="2147483736" r:id="rId68"/>
    <p:sldLayoutId id="2147483737" r:id="rId69"/>
    <p:sldLayoutId id="2147483738" r:id="rId70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107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4218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1328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8437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179356" indent="-17935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36468" indent="-17935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b="1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93586" indent="-17935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5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50695" indent="-17935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618930" indent="-17935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1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098" indent="-228557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7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7" indent="-228557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30" indent="-228557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8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7" algn="l" defTabSz="91421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44588" y="130175"/>
            <a:ext cx="11799277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8" rIns="9142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44592" y="1268420"/>
            <a:ext cx="11809047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8" rIns="9142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723924" y="6291264"/>
            <a:ext cx="28448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800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fld id="{83042EED-C3EB-4C7D-B2AF-923FEB51914F}" type="datetime2">
              <a:rPr lang="fr-FR"/>
              <a:pPr>
                <a:defRPr/>
              </a:pPr>
              <a:t>mercredi 15 mars 2023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63571" y="6291264"/>
            <a:ext cx="685800" cy="365125"/>
          </a:xfrm>
          <a:prstGeom prst="rect">
            <a:avLst/>
          </a:prstGeom>
        </p:spPr>
        <p:txBody>
          <a:bodyPr vert="horz" lIns="91424" tIns="45718" rIns="91424" bIns="45718" rtlCol="0" anchor="ctr"/>
          <a:lstStyle>
            <a:lvl1pPr algn="r">
              <a:defRPr sz="1100" b="1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fld id="{3F8A2369-3512-4720-A9C6-0F8DF88EF24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pic>
        <p:nvPicPr>
          <p:cNvPr id="1030" name="Image 7" descr="Covea.jpg"/>
          <p:cNvPicPr>
            <a:picLocks noChangeAspect="1"/>
          </p:cNvPicPr>
          <p:nvPr/>
        </p:nvPicPr>
        <p:blipFill>
          <a:blip r:embed="rId6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9371" y="6251588"/>
            <a:ext cx="77176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ZoneTexte 10"/>
          <p:cNvSpPr txBox="1">
            <a:spLocks noChangeArrowheads="1"/>
          </p:cNvSpPr>
          <p:nvPr/>
        </p:nvSpPr>
        <p:spPr bwMode="auto">
          <a:xfrm>
            <a:off x="123093" y="6303757"/>
            <a:ext cx="5396523" cy="338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8" rIns="91424" bIns="45718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fr-FR" sz="800">
                <a:solidFill>
                  <a:srgbClr val="C3C6C7"/>
                </a:solidFill>
                <a:latin typeface="Verdana" pitchFamily="34" charset="0"/>
              </a:rPr>
              <a:t>Direction ou Service ou Pôle</a:t>
            </a:r>
          </a:p>
          <a:p>
            <a:pPr eaLnBrk="1" hangingPunct="1">
              <a:defRPr/>
            </a:pPr>
            <a:r>
              <a:rPr lang="fr-FR" altLang="fr-FR" sz="800">
                <a:solidFill>
                  <a:srgbClr val="AE9A64"/>
                </a:solidFill>
                <a:latin typeface="Verdana" pitchFamily="34" charset="0"/>
              </a:rPr>
              <a:t>DAV – PROJET SELFCARE</a:t>
            </a:r>
          </a:p>
        </p:txBody>
      </p:sp>
    </p:spTree>
    <p:extLst>
      <p:ext uri="{BB962C8B-B14F-4D97-AF65-F5344CB8AC3E}">
        <p14:creationId xmlns:p14="http://schemas.microsoft.com/office/powerpoint/2010/main" val="264863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786" r:id="rId38"/>
    <p:sldLayoutId id="2147483787" r:id="rId39"/>
    <p:sldLayoutId id="2147483788" r:id="rId40"/>
    <p:sldLayoutId id="2147483789" r:id="rId41"/>
    <p:sldLayoutId id="2147483790" r:id="rId42"/>
    <p:sldLayoutId id="2147483791" r:id="rId43"/>
    <p:sldLayoutId id="2147483792" r:id="rId44"/>
    <p:sldLayoutId id="2147483793" r:id="rId45"/>
    <p:sldLayoutId id="2147483794" r:id="rId46"/>
    <p:sldLayoutId id="2147483795" r:id="rId47"/>
    <p:sldLayoutId id="2147483796" r:id="rId48"/>
    <p:sldLayoutId id="2147483797" r:id="rId49"/>
    <p:sldLayoutId id="2147483798" r:id="rId50"/>
    <p:sldLayoutId id="2147483799" r:id="rId51"/>
    <p:sldLayoutId id="2147483800" r:id="rId52"/>
    <p:sldLayoutId id="2147483801" r:id="rId53"/>
    <p:sldLayoutId id="2147483802" r:id="rId54"/>
    <p:sldLayoutId id="2147483803" r:id="rId55"/>
    <p:sldLayoutId id="2147483804" r:id="rId56"/>
    <p:sldLayoutId id="2147483805" r:id="rId57"/>
    <p:sldLayoutId id="2147483806" r:id="rId58"/>
    <p:sldLayoutId id="2147483807" r:id="rId59"/>
    <p:sldLayoutId id="2147483808" r:id="rId60"/>
    <p:sldLayoutId id="2147483809" r:id="rId61"/>
    <p:sldLayoutId id="2147483810" r:id="rId6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095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4196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1294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8392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179352" indent="-17935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36455" indent="-17935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b="1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93564" indent="-17935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5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50663" indent="-17935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618890" indent="-17935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1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036" indent="-228552" algn="l" defTabSz="9141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4" indent="-228552" algn="l" defTabSz="9141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32" indent="-228552" algn="l" defTabSz="9141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34" indent="-228552" algn="l" defTabSz="9141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6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4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92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94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6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5" algn="l" defTabSz="91419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44588" y="130175"/>
            <a:ext cx="11799277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44591" y="1268420"/>
            <a:ext cx="11809047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04" tIns="60952" rIns="121904" bIns="60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723924" y="6291264"/>
            <a:ext cx="2844800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lvl1pPr algn="r">
              <a:defRPr sz="800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1219020">
              <a:defRPr/>
            </a:pPr>
            <a:fld id="{83042EED-C3EB-4C7D-B2AF-923FEB51914F}" type="datetime2">
              <a:rPr lang="fr-FR" smtClean="0"/>
              <a:pPr defTabSz="1219020">
                <a:defRPr/>
              </a:pPr>
              <a:t>mercredi 15 mars 2023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63571" y="6291264"/>
            <a:ext cx="685800" cy="365125"/>
          </a:xfrm>
          <a:prstGeom prst="rect">
            <a:avLst/>
          </a:prstGeom>
        </p:spPr>
        <p:txBody>
          <a:bodyPr vert="horz" lIns="121904" tIns="60952" rIns="121904" bIns="60952" rtlCol="0" anchor="ctr"/>
          <a:lstStyle>
            <a:lvl1pPr algn="r">
              <a:defRPr sz="1100" b="1">
                <a:solidFill>
                  <a:srgbClr val="AE9A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1219020">
              <a:defRPr/>
            </a:pPr>
            <a:fld id="{3F8A2369-3512-4720-A9C6-0F8DF88EF24F}" type="slidenum">
              <a:rPr lang="fr-FR" smtClean="0"/>
              <a:pPr defTabSz="1219020">
                <a:defRPr/>
              </a:pPr>
              <a:t>‹N°›</a:t>
            </a:fld>
            <a:endParaRPr lang="fr-FR"/>
          </a:p>
        </p:txBody>
      </p:sp>
      <p:pic>
        <p:nvPicPr>
          <p:cNvPr id="1030" name="Image 7" descr="Covea.jpg"/>
          <p:cNvPicPr>
            <a:picLocks noChangeAspect="1"/>
          </p:cNvPicPr>
          <p:nvPr/>
        </p:nvPicPr>
        <p:blipFill>
          <a:blip r:embed="rId6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9371" y="6251584"/>
            <a:ext cx="77176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ZoneTexte 10"/>
          <p:cNvSpPr txBox="1">
            <a:spLocks noChangeArrowheads="1"/>
          </p:cNvSpPr>
          <p:nvPr/>
        </p:nvSpPr>
        <p:spPr bwMode="auto">
          <a:xfrm>
            <a:off x="123093" y="6288367"/>
            <a:ext cx="53965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4" tIns="60952" rIns="121904" bIns="60952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9020" eaLnBrk="1" hangingPunct="1">
              <a:defRPr/>
            </a:pPr>
            <a:r>
              <a:rPr lang="fr-FR" altLang="fr-FR" sz="800">
                <a:solidFill>
                  <a:srgbClr val="C3C6C7"/>
                </a:solidFill>
                <a:latin typeface="Verdana" pitchFamily="34" charset="0"/>
              </a:rPr>
              <a:t>Direction ou Service ou Pôle</a:t>
            </a:r>
          </a:p>
          <a:p>
            <a:pPr defTabSz="1219020" eaLnBrk="1" hangingPunct="1">
              <a:defRPr/>
            </a:pPr>
            <a:r>
              <a:rPr lang="fr-FR" altLang="fr-FR" sz="800">
                <a:solidFill>
                  <a:srgbClr val="AE9A64"/>
                </a:solidFill>
                <a:latin typeface="Verdana" pitchFamily="34" charset="0"/>
              </a:rPr>
              <a:t>DAV – PROJET SELFCARE</a:t>
            </a:r>
          </a:p>
        </p:txBody>
      </p:sp>
    </p:spTree>
    <p:extLst>
      <p:ext uri="{BB962C8B-B14F-4D97-AF65-F5344CB8AC3E}">
        <p14:creationId xmlns:p14="http://schemas.microsoft.com/office/powerpoint/2010/main" val="69029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  <p:sldLayoutId id="2147483836" r:id="rId25"/>
    <p:sldLayoutId id="2147483837" r:id="rId26"/>
    <p:sldLayoutId id="2147483838" r:id="rId27"/>
    <p:sldLayoutId id="2147483839" r:id="rId28"/>
    <p:sldLayoutId id="2147483840" r:id="rId29"/>
    <p:sldLayoutId id="2147483841" r:id="rId30"/>
    <p:sldLayoutId id="2147483842" r:id="rId31"/>
    <p:sldLayoutId id="2147483843" r:id="rId32"/>
    <p:sldLayoutId id="2147483844" r:id="rId33"/>
    <p:sldLayoutId id="2147483845" r:id="rId34"/>
    <p:sldLayoutId id="2147483846" r:id="rId35"/>
    <p:sldLayoutId id="2147483847" r:id="rId36"/>
    <p:sldLayoutId id="2147483848" r:id="rId37"/>
    <p:sldLayoutId id="2147483849" r:id="rId38"/>
    <p:sldLayoutId id="2147483850" r:id="rId39"/>
    <p:sldLayoutId id="2147483851" r:id="rId40"/>
    <p:sldLayoutId id="2147483852" r:id="rId41"/>
    <p:sldLayoutId id="2147483853" r:id="rId42"/>
    <p:sldLayoutId id="2147483854" r:id="rId43"/>
    <p:sldLayoutId id="2147483855" r:id="rId44"/>
    <p:sldLayoutId id="2147483856" r:id="rId45"/>
    <p:sldLayoutId id="2147483857" r:id="rId46"/>
    <p:sldLayoutId id="2147483858" r:id="rId47"/>
    <p:sldLayoutId id="2147483859" r:id="rId48"/>
    <p:sldLayoutId id="2147483860" r:id="rId49"/>
    <p:sldLayoutId id="2147483861" r:id="rId50"/>
    <p:sldLayoutId id="2147483862" r:id="rId51"/>
    <p:sldLayoutId id="2147483863" r:id="rId52"/>
    <p:sldLayoutId id="2147483864" r:id="rId53"/>
    <p:sldLayoutId id="2147483865" r:id="rId54"/>
    <p:sldLayoutId id="2147483866" r:id="rId55"/>
    <p:sldLayoutId id="2147483867" r:id="rId56"/>
    <p:sldLayoutId id="2147483868" r:id="rId57"/>
    <p:sldLayoutId id="2147483869" r:id="rId58"/>
    <p:sldLayoutId id="2147483870" r:id="rId59"/>
    <p:sldLayoutId id="2147483871" r:id="rId60"/>
    <p:sldLayoutId id="2147483872" r:id="rId61"/>
    <p:sldLayoutId id="2147483873" r:id="rId6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131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6pPr>
      <a:lvl7pPr marL="914264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7pPr>
      <a:lvl8pPr marL="1371396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8pPr>
      <a:lvl9pPr marL="1828528" algn="l" rtl="0" fontAlgn="base">
        <a:spcBef>
          <a:spcPct val="0"/>
        </a:spcBef>
        <a:spcAft>
          <a:spcPct val="0"/>
        </a:spcAft>
        <a:defRPr sz="2300" b="1">
          <a:solidFill>
            <a:srgbClr val="AE9A64"/>
          </a:solidFill>
          <a:latin typeface="Verdana" pitchFamily="34" charset="0"/>
          <a:ea typeface="Verdana" pitchFamily="34" charset="0"/>
          <a:cs typeface="Verdana" pitchFamily="34" charset="0"/>
        </a:defRPr>
      </a:lvl9pPr>
    </p:titleStyle>
    <p:bodyStyle>
      <a:lvl1pPr marL="179364" indent="-17936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b="1" kern="1200">
          <a:solidFill>
            <a:srgbClr val="AE9A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36495" indent="-17936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b="1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93630" indent="-17936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5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50759" indent="-17936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619010" indent="-17936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100" kern="1200">
          <a:solidFill>
            <a:srgbClr val="95979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224" indent="-228568" algn="l" defTabSz="9142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8" algn="l" defTabSz="9142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8" indent="-228568" algn="l" defTabSz="9142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22" indent="-228568" algn="l" defTabSz="9142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8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2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47B915CF-5FF1-41A7-9AD1-FEA7D4881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6"/>
            <a:ext cx="10937872" cy="5857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1F2438A5-1302-4E85-A33F-A830042D66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8303" y="1512743"/>
            <a:ext cx="10937872" cy="4421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943352DF-26F4-41D0-AFE5-BB8464BAC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pPr defTabSz="1219170"/>
            <a:r>
              <a:rPr lang="fr-FR" dirty="0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6956307-BF24-4E06-B706-872EE4850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6" y="6207124"/>
            <a:ext cx="54257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  <a:latin typeface="+mn-lt"/>
              </a:defRPr>
            </a:lvl1pPr>
          </a:lstStyle>
          <a:p>
            <a:pPr defTabSz="1219170"/>
            <a:fld id="{F58D08CA-ACAF-49A8-BABE-4530045D46EE}" type="slidenum">
              <a:rPr lang="fr-FR" smtClean="0">
                <a:solidFill>
                  <a:srgbClr val="8F7332"/>
                </a:solidFill>
              </a:rPr>
              <a:pPr defTabSz="1219170"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pic>
        <p:nvPicPr>
          <p:cNvPr id="1026" name="Picture 2" descr="Covéa — Wikipédia">
            <a:extLst>
              <a:ext uri="{FF2B5EF4-FFF2-40B4-BE49-F238E27FC236}">
                <a16:creationId xmlns:a16="http://schemas.microsoft.com/office/drawing/2014/main" xmlns="" id="{A36739C0-836A-4275-A4EC-CDBDF3BC0E0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7"/>
          <a:stretch/>
        </p:blipFill>
        <p:spPr bwMode="auto">
          <a:xfrm>
            <a:off x="11225815" y="5842001"/>
            <a:ext cx="769332" cy="779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xmlns="" id="{91D16BDC-0CDE-4750-80AF-45F2D8746B40}"/>
              </a:ext>
            </a:extLst>
          </p:cNvPr>
          <p:cNvCxnSpPr/>
          <p:nvPr userDrawn="1"/>
        </p:nvCxnSpPr>
        <p:spPr>
          <a:xfrm flipH="1">
            <a:off x="628297" y="6393656"/>
            <a:ext cx="9286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181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  <p:sldLayoutId id="2147483915" r:id="rId41"/>
    <p:sldLayoutId id="2147483916" r:id="rId42"/>
    <p:sldLayoutId id="2147483917" r:id="rId43"/>
    <p:sldLayoutId id="2147483918" r:id="rId44"/>
    <p:sldLayoutId id="2147483919" r:id="rId45"/>
    <p:sldLayoutId id="2147483920" r:id="rId46"/>
    <p:sldLayoutId id="2147483921" r:id="rId47"/>
    <p:sldLayoutId id="2147483922" r:id="rId48"/>
    <p:sldLayoutId id="2147483923" r:id="rId49"/>
    <p:sldLayoutId id="2147483924" r:id="rId50"/>
    <p:sldLayoutId id="2147483925" r:id="rId51"/>
    <p:sldLayoutId id="2147483926" r:id="rId52"/>
    <p:sldLayoutId id="2147483927" r:id="rId53"/>
    <p:sldLayoutId id="2147483928" r:id="rId54"/>
    <p:sldLayoutId id="2147483929" r:id="rId55"/>
    <p:sldLayoutId id="2147483930" r:id="rId56"/>
    <p:sldLayoutId id="2147483931" r:id="rId57"/>
    <p:sldLayoutId id="2147483932" r:id="rId58"/>
    <p:sldLayoutId id="2147483933" r:id="rId59"/>
    <p:sldLayoutId id="2147483934" r:id="rId60"/>
    <p:sldLayoutId id="2147483935" r:id="rId61"/>
    <p:sldLayoutId id="2147483936" r:id="rId62"/>
    <p:sldLayoutId id="2147483937" r:id="rId63"/>
    <p:sldLayoutId id="2147483938" r:id="rId64"/>
    <p:sldLayoutId id="2147483939" r:id="rId65"/>
    <p:sldLayoutId id="2147483940" r:id="rId66"/>
    <p:sldLayoutId id="2147483941" r:id="rId67"/>
    <p:sldLayoutId id="2147483942" r:id="rId68"/>
    <p:sldLayoutId id="2147483943" r:id="rId69"/>
    <p:sldLayoutId id="2147483944" r:id="rId70"/>
    <p:sldLayoutId id="2147483945" r:id="rId71"/>
    <p:sldLayoutId id="2147483946" r:id="rId72"/>
    <p:sldLayoutId id="2147483947" r:id="rId73"/>
    <p:sldLayoutId id="2147483948" r:id="rId74"/>
    <p:sldLayoutId id="2147483949" r:id="rId75"/>
    <p:sldLayoutId id="2147483950" r:id="rId76"/>
    <p:sldLayoutId id="2147483951" r:id="rId77"/>
    <p:sldLayoutId id="2147483952" r:id="rId78"/>
    <p:sldLayoutId id="2147483953" r:id="rId79"/>
    <p:sldLayoutId id="2147483954" r:id="rId80"/>
    <p:sldLayoutId id="2147483955" r:id="rId81"/>
    <p:sldLayoutId id="2147483956" r:id="rId82"/>
    <p:sldLayoutId id="2147483957" r:id="rId83"/>
    <p:sldLayoutId id="2147483958" r:id="rId84"/>
    <p:sldLayoutId id="2147483959" r:id="rId85"/>
    <p:sldLayoutId id="2147483960" r:id="rId86"/>
    <p:sldLayoutId id="2147483961" r:id="rId87"/>
    <p:sldLayoutId id="2147483962" r:id="rId88"/>
    <p:sldLayoutId id="2147483963" r:id="rId89"/>
    <p:sldLayoutId id="2147483964" r:id="rId90"/>
    <p:sldLayoutId id="2147483965" r:id="rId91"/>
    <p:sldLayoutId id="2147483966" r:id="rId92"/>
    <p:sldLayoutId id="2147483967" r:id="rId93"/>
    <p:sldLayoutId id="2147483968" r:id="rId94"/>
    <p:sldLayoutId id="2147483969" r:id="rId95"/>
    <p:sldLayoutId id="2147483970" r:id="rId96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bg2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85744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bg2"/>
        </a:buClr>
        <a:buSzPct val="80000"/>
        <a:buFont typeface="Arial" panose="020B0604020202020204" pitchFamily="3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200" b="0" kern="1200">
          <a:solidFill>
            <a:schemeClr val="tx2"/>
          </a:solidFill>
          <a:latin typeface="+mn-lt"/>
          <a:ea typeface="+mn-ea"/>
          <a:cs typeface="Poppins Light" panose="00000400000000000000" pitchFamily="2" charset="0"/>
        </a:defRPr>
      </a:lvl2pPr>
      <a:lvl3pPr marL="1200121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bg2"/>
        </a:buClr>
        <a:buSzPct val="80000"/>
        <a:buFont typeface="Segoe UI" panose="020B0502040204020203" pitchFamily="34" charset="0"/>
        <a:buChar char="&gt;"/>
        <a:defRPr sz="1100" b="0" i="1" kern="1200">
          <a:solidFill>
            <a:schemeClr val="tx2"/>
          </a:solidFill>
          <a:latin typeface="+mn-lt"/>
          <a:ea typeface="+mn-ea"/>
          <a:cs typeface="Poppins ExtraLight" panose="00000300000000000000" pitchFamily="2" charset="0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4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 pos="3906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>
          <p15:clr>
            <a:srgbClr val="F26B43"/>
          </p15:clr>
        </p15:guide>
        <p15:guide id="10">
          <p15:clr>
            <a:srgbClr val="F26B43"/>
          </p15:clr>
        </p15:guide>
        <p15:guide id="11" pos="76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47B915CF-5FF1-41A7-9AD1-FEA7D4881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5"/>
            <a:ext cx="10937872" cy="5857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1F2438A5-1302-4E85-A33F-A830042D66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8303" y="1512743"/>
            <a:ext cx="10937872" cy="4421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943352DF-26F4-41D0-AFE5-BB8464BAC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0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pPr defTabSz="914400"/>
            <a:r>
              <a:rPr lang="fr-FR">
                <a:solidFill>
                  <a:srgbClr val="5B6971"/>
                </a:solidFill>
              </a:rPr>
              <a:t>Titre de la présentation / Nom de la direction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6956307-BF24-4E06-B706-872EE4850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5" y="6207123"/>
            <a:ext cx="54257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  <a:latin typeface="+mn-lt"/>
              </a:defRPr>
            </a:lvl1pPr>
          </a:lstStyle>
          <a:p>
            <a:pPr defTabSz="914400"/>
            <a:fld id="{F58D08CA-ACAF-49A8-BABE-4530045D46EE}" type="slidenum">
              <a:rPr lang="fr-FR" smtClean="0">
                <a:solidFill>
                  <a:srgbClr val="8F7332"/>
                </a:solidFill>
              </a:rPr>
              <a:pPr defTabSz="914400"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pic>
        <p:nvPicPr>
          <p:cNvPr id="1026" name="Picture 2" descr="Covéa — Wikipédia">
            <a:extLst>
              <a:ext uri="{FF2B5EF4-FFF2-40B4-BE49-F238E27FC236}">
                <a16:creationId xmlns:a16="http://schemas.microsoft.com/office/drawing/2014/main" xmlns="" id="{A36739C0-836A-4275-A4EC-CDBDF3BC0E0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7"/>
          <a:stretch/>
        </p:blipFill>
        <p:spPr bwMode="auto">
          <a:xfrm>
            <a:off x="11225815" y="5842000"/>
            <a:ext cx="769332" cy="77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xmlns="" id="{91D16BDC-0CDE-4750-80AF-45F2D8746B40}"/>
              </a:ext>
            </a:extLst>
          </p:cNvPr>
          <p:cNvCxnSpPr/>
          <p:nvPr userDrawn="1"/>
        </p:nvCxnSpPr>
        <p:spPr>
          <a:xfrm flipH="1">
            <a:off x="628296" y="6393656"/>
            <a:ext cx="9286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7620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07" r:id="rId19"/>
    <p:sldLayoutId id="2147484008" r:id="rId20"/>
    <p:sldLayoutId id="2147484009" r:id="rId21"/>
    <p:sldLayoutId id="2147484010" r:id="rId22"/>
    <p:sldLayoutId id="2147484011" r:id="rId23"/>
    <p:sldLayoutId id="2147484012" r:id="rId24"/>
    <p:sldLayoutId id="2147484013" r:id="rId25"/>
    <p:sldLayoutId id="2147484014" r:id="rId26"/>
    <p:sldLayoutId id="2147484015" r:id="rId27"/>
    <p:sldLayoutId id="2147484016" r:id="rId28"/>
    <p:sldLayoutId id="2147484017" r:id="rId29"/>
    <p:sldLayoutId id="2147484018" r:id="rId30"/>
    <p:sldLayoutId id="2147484019" r:id="rId31"/>
    <p:sldLayoutId id="2147484020" r:id="rId32"/>
    <p:sldLayoutId id="2147484021" r:id="rId33"/>
    <p:sldLayoutId id="2147484022" r:id="rId34"/>
    <p:sldLayoutId id="2147484023" r:id="rId35"/>
    <p:sldLayoutId id="2147484024" r:id="rId36"/>
    <p:sldLayoutId id="2147484025" r:id="rId37"/>
    <p:sldLayoutId id="2147484026" r:id="rId38"/>
    <p:sldLayoutId id="2147484027" r:id="rId39"/>
    <p:sldLayoutId id="2147484028" r:id="rId40"/>
    <p:sldLayoutId id="2147484029" r:id="rId41"/>
    <p:sldLayoutId id="2147484030" r:id="rId42"/>
    <p:sldLayoutId id="2147484031" r:id="rId43"/>
    <p:sldLayoutId id="2147484032" r:id="rId44"/>
    <p:sldLayoutId id="2147484033" r:id="rId45"/>
    <p:sldLayoutId id="2147484034" r:id="rId46"/>
    <p:sldLayoutId id="2147484035" r:id="rId47"/>
    <p:sldLayoutId id="2147484036" r:id="rId48"/>
    <p:sldLayoutId id="2147484037" r:id="rId49"/>
    <p:sldLayoutId id="2147484038" r:id="rId50"/>
    <p:sldLayoutId id="2147484039" r:id="rId51"/>
    <p:sldLayoutId id="2147484040" r:id="rId52"/>
    <p:sldLayoutId id="2147484041" r:id="rId53"/>
    <p:sldLayoutId id="2147484042" r:id="rId54"/>
    <p:sldLayoutId id="2147484043" r:id="rId55"/>
    <p:sldLayoutId id="2147484044" r:id="rId56"/>
    <p:sldLayoutId id="2147484045" r:id="rId57"/>
    <p:sldLayoutId id="2147484046" r:id="rId58"/>
    <p:sldLayoutId id="2147484047" r:id="rId59"/>
    <p:sldLayoutId id="2147484048" r:id="rId60"/>
    <p:sldLayoutId id="2147484049" r:id="rId61"/>
    <p:sldLayoutId id="2147484050" r:id="rId62"/>
    <p:sldLayoutId id="2147484051" r:id="rId63"/>
    <p:sldLayoutId id="2147484052" r:id="rId64"/>
    <p:sldLayoutId id="2147484053" r:id="rId65"/>
    <p:sldLayoutId id="2147484054" r:id="rId66"/>
    <p:sldLayoutId id="2147484055" r:id="rId67"/>
    <p:sldLayoutId id="2147484056" r:id="rId68"/>
    <p:sldLayoutId id="2147484057" r:id="rId69"/>
    <p:sldLayoutId id="2147484058" r:id="rId70"/>
    <p:sldLayoutId id="2147484059" r:id="rId71"/>
    <p:sldLayoutId id="2147484060" r:id="rId72"/>
    <p:sldLayoutId id="2147484061" r:id="rId73"/>
    <p:sldLayoutId id="2147484062" r:id="rId74"/>
    <p:sldLayoutId id="2147484063" r:id="rId75"/>
    <p:sldLayoutId id="2147484064" r:id="rId76"/>
    <p:sldLayoutId id="2147484065" r:id="rId77"/>
    <p:sldLayoutId id="2147484066" r:id="rId78"/>
    <p:sldLayoutId id="2147484067" r:id="rId79"/>
    <p:sldLayoutId id="2147484068" r:id="rId80"/>
    <p:sldLayoutId id="2147484069" r:id="rId81"/>
    <p:sldLayoutId id="2147484070" r:id="rId82"/>
    <p:sldLayoutId id="2147484071" r:id="rId83"/>
    <p:sldLayoutId id="2147484072" r:id="rId84"/>
    <p:sldLayoutId id="2147484073" r:id="rId85"/>
    <p:sldLayoutId id="2147484074" r:id="rId86"/>
    <p:sldLayoutId id="2147484075" r:id="rId87"/>
    <p:sldLayoutId id="2147484076" r:id="rId88"/>
    <p:sldLayoutId id="2147484077" r:id="rId89"/>
    <p:sldLayoutId id="2147484078" r:id="rId90"/>
    <p:sldLayoutId id="2147484079" r:id="rId91"/>
    <p:sldLayoutId id="2147484080" r:id="rId92"/>
    <p:sldLayoutId id="2147484081" r:id="rId93"/>
    <p:sldLayoutId id="2147484082" r:id="rId94"/>
    <p:sldLayoutId id="2147484083" r:id="rId95"/>
    <p:sldLayoutId id="2147484084" r:id="rId96"/>
    <p:sldLayoutId id="2147484085" r:id="rId97"/>
    <p:sldLayoutId id="2147484086" r:id="rId98"/>
    <p:sldLayoutId id="2147484087" r:id="rId99"/>
    <p:sldLayoutId id="2147484088" r:id="rId10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bg2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bg2"/>
        </a:buClr>
        <a:buSzPct val="80000"/>
        <a:buFont typeface="Arial" panose="020B0604020202020204" pitchFamily="3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200" b="0" kern="1200">
          <a:solidFill>
            <a:schemeClr val="tx2"/>
          </a:solidFill>
          <a:latin typeface="+mn-lt"/>
          <a:ea typeface="+mn-ea"/>
          <a:cs typeface="Poppins Light" panose="00000400000000000000" pitchFamily="2" charset="0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0"/>
        </a:spcBef>
        <a:spcAft>
          <a:spcPts val="150"/>
        </a:spcAft>
        <a:buClr>
          <a:schemeClr val="bg2"/>
        </a:buClr>
        <a:buSzPct val="80000"/>
        <a:buFont typeface="Segoe UI" panose="020B0502040204020203" pitchFamily="34" charset="0"/>
        <a:buChar char="&gt;"/>
        <a:defRPr sz="1050" b="0" i="1" kern="1200">
          <a:solidFill>
            <a:schemeClr val="tx2"/>
          </a:solidFill>
          <a:latin typeface="+mn-lt"/>
          <a:ea typeface="+mn-ea"/>
          <a:cs typeface="Poppins ExtraLight" panose="00000300000000000000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4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 pos="3906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>
          <p15:clr>
            <a:srgbClr val="F26B43"/>
          </p15:clr>
        </p15:guide>
        <p15:guide id="10">
          <p15:clr>
            <a:srgbClr val="F26B43"/>
          </p15:clr>
        </p15:guide>
        <p15:guide id="11" pos="76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47B915CF-5FF1-41A7-9AD1-FEA7D4881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03" y="657226"/>
            <a:ext cx="10937872" cy="5857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1F2438A5-1302-4E85-A33F-A830042D66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8303" y="1512743"/>
            <a:ext cx="10937872" cy="4421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943352DF-26F4-41D0-AFE5-BB8464BAC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045" y="6207124"/>
            <a:ext cx="946708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all" spc="151" baseline="0">
                <a:solidFill>
                  <a:schemeClr val="tx2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pPr defTabSz="1219170"/>
            <a:r>
              <a:rPr lang="fr-FR" dirty="0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6956307-BF24-4E06-B706-872EE48507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1476" y="6207124"/>
            <a:ext cx="54257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2"/>
                </a:solidFill>
                <a:latin typeface="+mn-lt"/>
              </a:defRPr>
            </a:lvl1pPr>
          </a:lstStyle>
          <a:p>
            <a:pPr defTabSz="1219170"/>
            <a:fld id="{F58D08CA-ACAF-49A8-BABE-4530045D46EE}" type="slidenum">
              <a:rPr lang="fr-FR" smtClean="0">
                <a:solidFill>
                  <a:srgbClr val="8F7332"/>
                </a:solidFill>
              </a:rPr>
              <a:pPr defTabSz="1219170"/>
              <a:t>‹N°›</a:t>
            </a:fld>
            <a:endParaRPr lang="fr-FR">
              <a:solidFill>
                <a:srgbClr val="8F7332"/>
              </a:solidFill>
            </a:endParaRPr>
          </a:p>
        </p:txBody>
      </p:sp>
      <p:pic>
        <p:nvPicPr>
          <p:cNvPr id="1026" name="Picture 2" descr="Covéa — Wikipédia">
            <a:extLst>
              <a:ext uri="{FF2B5EF4-FFF2-40B4-BE49-F238E27FC236}">
                <a16:creationId xmlns:a16="http://schemas.microsoft.com/office/drawing/2014/main" xmlns="" id="{A36739C0-836A-4275-A4EC-CDBDF3BC0E0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7"/>
          <a:stretch/>
        </p:blipFill>
        <p:spPr bwMode="auto">
          <a:xfrm>
            <a:off x="11225815" y="5842001"/>
            <a:ext cx="769332" cy="779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xmlns="" id="{91D16BDC-0CDE-4750-80AF-45F2D8746B40}"/>
              </a:ext>
            </a:extLst>
          </p:cNvPr>
          <p:cNvCxnSpPr/>
          <p:nvPr userDrawn="1"/>
        </p:nvCxnSpPr>
        <p:spPr>
          <a:xfrm flipH="1">
            <a:off x="628297" y="6393656"/>
            <a:ext cx="9286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60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  <p:sldLayoutId id="2147484103" r:id="rId12"/>
    <p:sldLayoutId id="2147484104" r:id="rId13"/>
    <p:sldLayoutId id="2147484105" r:id="rId14"/>
    <p:sldLayoutId id="2147484106" r:id="rId15"/>
    <p:sldLayoutId id="2147484107" r:id="rId16"/>
    <p:sldLayoutId id="2147484108" r:id="rId17"/>
    <p:sldLayoutId id="2147484109" r:id="rId18"/>
    <p:sldLayoutId id="2147484110" r:id="rId19"/>
    <p:sldLayoutId id="2147484111" r:id="rId20"/>
    <p:sldLayoutId id="2147484112" r:id="rId21"/>
    <p:sldLayoutId id="2147484113" r:id="rId22"/>
    <p:sldLayoutId id="2147484114" r:id="rId23"/>
    <p:sldLayoutId id="2147484115" r:id="rId24"/>
    <p:sldLayoutId id="2147484116" r:id="rId25"/>
    <p:sldLayoutId id="2147484117" r:id="rId26"/>
    <p:sldLayoutId id="2147484118" r:id="rId27"/>
    <p:sldLayoutId id="2147484119" r:id="rId28"/>
    <p:sldLayoutId id="2147484120" r:id="rId29"/>
    <p:sldLayoutId id="2147484121" r:id="rId30"/>
    <p:sldLayoutId id="2147484122" r:id="rId31"/>
    <p:sldLayoutId id="2147484123" r:id="rId32"/>
    <p:sldLayoutId id="2147484124" r:id="rId33"/>
    <p:sldLayoutId id="2147484125" r:id="rId34"/>
    <p:sldLayoutId id="2147484126" r:id="rId35"/>
    <p:sldLayoutId id="2147484127" r:id="rId36"/>
    <p:sldLayoutId id="2147484128" r:id="rId37"/>
    <p:sldLayoutId id="2147484129" r:id="rId38"/>
    <p:sldLayoutId id="2147484130" r:id="rId39"/>
    <p:sldLayoutId id="2147484131" r:id="rId40"/>
    <p:sldLayoutId id="2147484132" r:id="rId41"/>
    <p:sldLayoutId id="2147484133" r:id="rId42"/>
    <p:sldLayoutId id="2147484134" r:id="rId43"/>
    <p:sldLayoutId id="2147484135" r:id="rId44"/>
    <p:sldLayoutId id="2147484136" r:id="rId45"/>
    <p:sldLayoutId id="2147484137" r:id="rId46"/>
    <p:sldLayoutId id="2147484138" r:id="rId47"/>
    <p:sldLayoutId id="2147484139" r:id="rId48"/>
    <p:sldLayoutId id="2147484140" r:id="rId49"/>
    <p:sldLayoutId id="2147484141" r:id="rId50"/>
    <p:sldLayoutId id="2147484142" r:id="rId51"/>
    <p:sldLayoutId id="2147484143" r:id="rId52"/>
    <p:sldLayoutId id="2147484144" r:id="rId53"/>
    <p:sldLayoutId id="2147484145" r:id="rId54"/>
    <p:sldLayoutId id="2147484146" r:id="rId55"/>
    <p:sldLayoutId id="2147484147" r:id="rId56"/>
    <p:sldLayoutId id="2147484148" r:id="rId57"/>
    <p:sldLayoutId id="2147484149" r:id="rId58"/>
    <p:sldLayoutId id="2147484150" r:id="rId59"/>
    <p:sldLayoutId id="2147484151" r:id="rId60"/>
    <p:sldLayoutId id="2147484152" r:id="rId61"/>
    <p:sldLayoutId id="2147484153" r:id="rId62"/>
    <p:sldLayoutId id="2147484154" r:id="rId63"/>
    <p:sldLayoutId id="2147484155" r:id="rId64"/>
    <p:sldLayoutId id="2147484156" r:id="rId65"/>
    <p:sldLayoutId id="2147484157" r:id="rId66"/>
    <p:sldLayoutId id="2147484158" r:id="rId67"/>
    <p:sldLayoutId id="2147484159" r:id="rId68"/>
    <p:sldLayoutId id="2147484160" r:id="rId69"/>
    <p:sldLayoutId id="2147484161" r:id="rId70"/>
    <p:sldLayoutId id="2147484162" r:id="rId71"/>
    <p:sldLayoutId id="2147484163" r:id="rId72"/>
    <p:sldLayoutId id="2147484164" r:id="rId73"/>
    <p:sldLayoutId id="2147484165" r:id="rId74"/>
    <p:sldLayoutId id="2147484166" r:id="rId75"/>
    <p:sldLayoutId id="2147484167" r:id="rId76"/>
    <p:sldLayoutId id="2147484168" r:id="rId77"/>
    <p:sldLayoutId id="2147484169" r:id="rId78"/>
    <p:sldLayoutId id="2147484170" r:id="rId79"/>
    <p:sldLayoutId id="2147484171" r:id="rId80"/>
    <p:sldLayoutId id="2147484172" r:id="rId81"/>
    <p:sldLayoutId id="2147484173" r:id="rId82"/>
    <p:sldLayoutId id="2147484174" r:id="rId83"/>
    <p:sldLayoutId id="2147484175" r:id="rId84"/>
    <p:sldLayoutId id="2147484176" r:id="rId85"/>
    <p:sldLayoutId id="2147484177" r:id="rId86"/>
    <p:sldLayoutId id="2147484178" r:id="rId87"/>
    <p:sldLayoutId id="2147484179" r:id="rId88"/>
    <p:sldLayoutId id="2147484180" r:id="rId89"/>
    <p:sldLayoutId id="2147484181" r:id="rId90"/>
    <p:sldLayoutId id="2147484182" r:id="rId91"/>
    <p:sldLayoutId id="2147484183" r:id="rId92"/>
    <p:sldLayoutId id="2147484184" r:id="rId93"/>
    <p:sldLayoutId id="2147484185" r:id="rId94"/>
    <p:sldLayoutId id="2147484186" r:id="rId95"/>
    <p:sldLayoutId id="2147484187" r:id="rId96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bg2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85744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bg2"/>
        </a:buClr>
        <a:buSzPct val="80000"/>
        <a:buFont typeface="Arial" panose="020B0604020202020204" pitchFamily="34" charset="0"/>
        <a:buChar char="•"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200" b="0" kern="1200">
          <a:solidFill>
            <a:schemeClr val="tx2"/>
          </a:solidFill>
          <a:latin typeface="+mn-lt"/>
          <a:ea typeface="+mn-ea"/>
          <a:cs typeface="Poppins Light" panose="00000400000000000000" pitchFamily="2" charset="0"/>
        </a:defRPr>
      </a:lvl2pPr>
      <a:lvl3pPr marL="1200121" indent="-285744" algn="l" defTabSz="914377" rtl="0" eaLnBrk="1" latinLnBrk="0" hangingPunct="1">
        <a:lnSpc>
          <a:spcPct val="90000"/>
        </a:lnSpc>
        <a:spcBef>
          <a:spcPts val="0"/>
        </a:spcBef>
        <a:spcAft>
          <a:spcPts val="151"/>
        </a:spcAft>
        <a:buClr>
          <a:schemeClr val="bg2"/>
        </a:buClr>
        <a:buSzPct val="80000"/>
        <a:buFont typeface="Segoe UI" panose="020B0502040204020203" pitchFamily="34" charset="0"/>
        <a:buChar char="&gt;"/>
        <a:defRPr sz="1100" b="0" i="1" kern="1200">
          <a:solidFill>
            <a:schemeClr val="tx2"/>
          </a:solidFill>
          <a:latin typeface="+mn-lt"/>
          <a:ea typeface="+mn-ea"/>
          <a:cs typeface="Poppins ExtraLight" panose="00000300000000000000" pitchFamily="2" charset="0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Poppins" panose="00000500000000000000" pitchFamily="2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4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 pos="3906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>
          <p15:clr>
            <a:srgbClr val="F26B43"/>
          </p15:clr>
        </p15:guide>
        <p15:guide id="10">
          <p15:clr>
            <a:srgbClr val="F26B43"/>
          </p15:clr>
        </p15:guide>
        <p15:guide id="11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0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30.xml"/><Relationship Id="rId6" Type="http://schemas.openxmlformats.org/officeDocument/2006/relationships/image" Target="../media/image49.png"/><Relationship Id="rId5" Type="http://schemas.openxmlformats.org/officeDocument/2006/relationships/image" Target="../media/image48.jpeg"/><Relationship Id="rId10" Type="http://schemas.openxmlformats.org/officeDocument/2006/relationships/image" Target="../media/image52.png"/><Relationship Id="rId4" Type="http://schemas.openxmlformats.org/officeDocument/2006/relationships/hyperlink" Target="https://youtu.be/jRBhFPJQ3iY" TargetMode="External"/><Relationship Id="rId9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30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Relationship Id="rId9" Type="http://schemas.openxmlformats.org/officeDocument/2006/relationships/image" Target="../media/image6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38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138.xml"/><Relationship Id="rId1" Type="http://schemas.openxmlformats.org/officeDocument/2006/relationships/tags" Target="../tags/tag6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playlist?list=PLRwA_b6MBHv3SmaH-sep9xABnoBnwp9Ap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hyperlink" Target="mailto:eliza.marquez-garrido@gmf.fr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0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pour une image  6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48" r="11648"/>
          <a:stretch>
            <a:fillRect/>
          </a:stretch>
        </p:blipFill>
        <p:spPr/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6475185" y="3192559"/>
            <a:ext cx="5369110" cy="585788"/>
          </a:xfrm>
        </p:spPr>
        <p:txBody>
          <a:bodyPr/>
          <a:lstStyle/>
          <a:p>
            <a:pPr algn="ctr"/>
            <a:r>
              <a:rPr lang="fr-FR" dirty="0" smtClean="0"/>
              <a:t>Projet </a:t>
            </a:r>
            <a:r>
              <a:rPr lang="fr-FR" dirty="0" err="1" smtClean="0"/>
              <a:t>Selfcare</a:t>
            </a:r>
            <a:r>
              <a:rPr lang="fr-FR" dirty="0" smtClean="0"/>
              <a:t> Vie </a:t>
            </a:r>
            <a:br>
              <a:rPr lang="fr-FR" dirty="0" smtClean="0"/>
            </a:b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Focus MMA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/>
          </p:nvPr>
        </p:nvSpPr>
        <p:spPr>
          <a:xfrm>
            <a:off x="1297465" y="1084727"/>
            <a:ext cx="4151085" cy="585788"/>
          </a:xfrm>
        </p:spPr>
        <p:txBody>
          <a:bodyPr/>
          <a:lstStyle/>
          <a:p>
            <a:pPr defTabSz="876300"/>
            <a:r>
              <a:rPr lang="fr-FR" sz="2400" b="1" dirty="0" smtClean="0"/>
              <a:t>D</a:t>
            </a:r>
            <a:r>
              <a:rPr lang="fr-FR" sz="2400" dirty="0" smtClean="0"/>
              <a:t>irection </a:t>
            </a:r>
            <a:r>
              <a:rPr lang="fr-FR" sz="2400" b="1" dirty="0" smtClean="0"/>
              <a:t>A</a:t>
            </a:r>
            <a:r>
              <a:rPr lang="fr-FR" sz="2400" dirty="0" smtClean="0"/>
              <a:t>ssurance </a:t>
            </a:r>
            <a:r>
              <a:rPr lang="fr-FR" sz="2400" b="1" dirty="0" smtClean="0"/>
              <a:t>V</a:t>
            </a:r>
            <a:r>
              <a:rPr lang="fr-FR" sz="2400" dirty="0" smtClean="0"/>
              <a:t>ie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4204632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0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50" y="271463"/>
            <a:ext cx="10577513" cy="665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3579939" y="936625"/>
            <a:ext cx="60474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73">
              <a:defRPr/>
            </a:pPr>
            <a:r>
              <a:rPr lang="fr-FR" sz="1600" b="1" i="1" u="sng" dirty="0" smtClean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ctualité Vie </a:t>
            </a:r>
            <a:r>
              <a:rPr lang="fr-FR" sz="1600" b="1" i="1" dirty="0" smtClean="0">
                <a:solidFill>
                  <a:srgbClr val="00000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&gt;&gt; Je découvre les simulateurs </a:t>
            </a:r>
            <a:endParaRPr lang="fr-FR" sz="1600" b="1" i="1" dirty="0">
              <a:solidFill>
                <a:srgbClr val="00000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5540625" y="1717203"/>
            <a:ext cx="5816962" cy="4025033"/>
            <a:chOff x="2695576" y="1982561"/>
            <a:chExt cx="5816962" cy="4025033"/>
          </a:xfrm>
        </p:grpSpPr>
        <p:grpSp>
          <p:nvGrpSpPr>
            <p:cNvPr id="9" name="Groupe 8"/>
            <p:cNvGrpSpPr/>
            <p:nvPr/>
          </p:nvGrpSpPr>
          <p:grpSpPr>
            <a:xfrm>
              <a:off x="2695576" y="4891029"/>
              <a:ext cx="5816962" cy="1116565"/>
              <a:chOff x="2624450" y="4985988"/>
              <a:chExt cx="5833749" cy="1116565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2624450" y="4985988"/>
                <a:ext cx="5833749" cy="1116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n>
                    <a:solidFill>
                      <a:srgbClr val="FFFFFF"/>
                    </a:solidFill>
                  </a:ln>
                  <a:noFill/>
                </a:endParaRPr>
              </a:p>
            </p:txBody>
          </p:sp>
          <p:pic>
            <p:nvPicPr>
              <p:cNvPr id="11" name="Picture 6" descr="Fichier:YouTube full-color icon (2017).svg — Wikipédia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38952" y="5138971"/>
                <a:ext cx="1200110" cy="8302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ZoneTexte 11"/>
              <p:cNvSpPr txBox="1"/>
              <p:nvPr/>
            </p:nvSpPr>
            <p:spPr>
              <a:xfrm>
                <a:off x="2702875" y="5032968"/>
                <a:ext cx="3300390" cy="3847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b="1" dirty="0" smtClean="0"/>
                  <a:t>Lien vidéo</a:t>
                </a:r>
                <a:endParaRPr lang="fr-FR" b="1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702875" y="5456222"/>
                <a:ext cx="4140827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sng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Copier/coller l’URL sur Chrome</a:t>
                </a:r>
                <a:r>
                  <a:rPr kumimoji="0" lang="fr-FR" sz="1800" b="1" i="0" u="sng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</a:t>
                </a:r>
              </a:p>
              <a:p>
                <a:pPr lvl="0" defTabSz="914400">
                  <a:defRPr/>
                </a:pPr>
                <a:r>
                  <a:rPr lang="fr-FR" sz="1800" b="1" u="sng" kern="0" dirty="0">
                    <a:solidFill>
                      <a:srgbClr val="0070C0"/>
                    </a:solidFill>
                  </a:rPr>
                  <a:t>https://youtu.be/jRBhFPJQ3iY</a:t>
                </a:r>
                <a:endParaRPr lang="fr-FR" sz="1800" b="1" u="sng" kern="0" dirty="0" smtClean="0">
                  <a:solidFill>
                    <a:srgbClr val="0070C0"/>
                  </a:solidFill>
                </a:endParaRPr>
              </a:p>
            </p:txBody>
          </p:sp>
        </p:grpSp>
        <p:pic>
          <p:nvPicPr>
            <p:cNvPr id="14" name="Picture 2" descr="C:\Users\A71874\Desktop\Up sell.jp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5576" y="1982561"/>
              <a:ext cx="5816962" cy="2886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527538" y="1602907"/>
            <a:ext cx="3566746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ym typeface="Wingdings" panose="05000000000000000000" pitchFamily="2" charset="2"/>
              </a:rPr>
              <a:t>MEMO </a:t>
            </a:r>
          </a:p>
          <a:p>
            <a:r>
              <a:rPr lang="fr-FR" sz="1200" dirty="0" smtClean="0">
                <a:sym typeface="Wingdings" panose="05000000000000000000" pitchFamily="2" charset="2"/>
              </a:rPr>
              <a:t>Depuis fin 2022, le lancement de la rubrique </a:t>
            </a:r>
            <a:r>
              <a:rPr lang="fr-FR" sz="1200" b="1" i="1" dirty="0" smtClean="0">
                <a:sym typeface="Wingdings" panose="05000000000000000000" pitchFamily="2" charset="2"/>
              </a:rPr>
              <a:t>Actualité Vie</a:t>
            </a:r>
            <a:r>
              <a:rPr lang="fr-FR" sz="1200" dirty="0" smtClean="0">
                <a:sym typeface="Wingdings" panose="05000000000000000000" pitchFamily="2" charset="2"/>
              </a:rPr>
              <a:t>, </a:t>
            </a:r>
            <a:r>
              <a:rPr lang="fr-FR" sz="1200" b="1" dirty="0" smtClean="0">
                <a:sym typeface="Wingdings" panose="05000000000000000000" pitchFamily="2" charset="2"/>
              </a:rPr>
              <a:t>accessible à partir de la page synthèse du contrat </a:t>
            </a:r>
            <a:r>
              <a:rPr lang="fr-FR" sz="1200" dirty="0" smtClean="0">
                <a:sym typeface="Wingdings" panose="05000000000000000000" pitchFamily="2" charset="2"/>
              </a:rPr>
              <a:t>de l’espace client</a:t>
            </a:r>
            <a:r>
              <a:rPr lang="fr-FR" sz="1200" b="1" dirty="0" smtClean="0">
                <a:sym typeface="Wingdings" panose="05000000000000000000" pitchFamily="2" charset="2"/>
              </a:rPr>
              <a:t>, </a:t>
            </a:r>
            <a:r>
              <a:rPr lang="fr-FR" sz="1200" dirty="0" smtClean="0">
                <a:sym typeface="Wingdings" panose="05000000000000000000" pitchFamily="2" charset="2"/>
              </a:rPr>
              <a:t>propose des articles en assurance vie et plusieurs thématiques de simulateurs. </a:t>
            </a:r>
          </a:p>
          <a:p>
            <a:endParaRPr lang="fr-FR" sz="1200" b="1" u="sng" dirty="0" smtClean="0">
              <a:sym typeface="Wingdings" panose="05000000000000000000" pitchFamily="2" charset="2"/>
            </a:endParaRPr>
          </a:p>
          <a:p>
            <a:r>
              <a:rPr lang="fr-FR" sz="1200" b="1" dirty="0" smtClean="0">
                <a:sym typeface="Wingdings" panose="05000000000000000000" pitchFamily="2" charset="2"/>
              </a:rPr>
              <a:t>Ces d’outils </a:t>
            </a:r>
            <a:r>
              <a:rPr lang="fr-FR" sz="1200" b="1" dirty="0">
                <a:sym typeface="Wingdings" panose="05000000000000000000" pitchFamily="2" charset="2"/>
              </a:rPr>
              <a:t>d’aide à la vente </a:t>
            </a:r>
            <a:r>
              <a:rPr lang="fr-FR" sz="1200" b="1" dirty="0" smtClean="0">
                <a:sym typeface="Wingdings" panose="05000000000000000000" pitchFamily="2" charset="2"/>
              </a:rPr>
              <a:t>ont pour objectif de </a:t>
            </a:r>
            <a:r>
              <a:rPr lang="fr-FR" sz="1200" b="1" dirty="0" smtClean="0"/>
              <a:t>générer </a:t>
            </a:r>
            <a:r>
              <a:rPr lang="fr-FR" sz="1200" b="1" dirty="0"/>
              <a:t>des leads qualifiés pour les </a:t>
            </a:r>
            <a:r>
              <a:rPr lang="fr-FR" sz="1200" b="1" dirty="0" smtClean="0"/>
              <a:t>réseaux, et de permettre au client de : </a:t>
            </a:r>
            <a:endParaRPr lang="fr-FR" sz="1200" b="1" dirty="0" smtClean="0">
              <a:sym typeface="Wingdings" panose="05000000000000000000" pitchFamily="2" charset="2"/>
            </a:endParaRPr>
          </a:p>
          <a:p>
            <a:endParaRPr lang="fr-FR" sz="1200" b="1" u="sng" dirty="0" smtClean="0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fr-FR" sz="1200" dirty="0">
                <a:sym typeface="Wingdings" panose="05000000000000000000" pitchFamily="2" charset="2"/>
              </a:rPr>
              <a:t>s</a:t>
            </a:r>
            <a:r>
              <a:rPr lang="fr-FR" sz="1200" dirty="0" smtClean="0">
                <a:sym typeface="Wingdings" panose="05000000000000000000" pitchFamily="2" charset="2"/>
              </a:rPr>
              <a:t>e projeter sur les produits Retraite et sur l’investissement à faire pour être couvert en cas de problème</a:t>
            </a:r>
            <a:endParaRPr lang="fr-FR" sz="1200" dirty="0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fr-FR" sz="1200" b="1" u="sng" dirty="0">
              <a:sym typeface="Wingdings" panose="05000000000000000000" pitchFamily="2" charset="2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fr-FR" sz="1200" dirty="0" smtClean="0"/>
              <a:t>se </a:t>
            </a:r>
            <a:r>
              <a:rPr lang="fr-FR" sz="1200" dirty="0"/>
              <a:t>projeter sur l’épargne nécessaire pour financer ses projets de </a:t>
            </a:r>
            <a:r>
              <a:rPr lang="fr-FR" sz="1200" dirty="0" smtClean="0"/>
              <a:t>vie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fr-FR" sz="1200" dirty="0" smtClean="0"/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fr-FR" sz="1200" dirty="0" smtClean="0"/>
              <a:t>obtenir une vision d’ensemble des besoins à couvrir en cas de pépins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endParaRPr lang="fr-FR" sz="1200" dirty="0" smtClean="0"/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fr-FR" sz="1200" dirty="0"/>
              <a:t>e</a:t>
            </a:r>
            <a:r>
              <a:rPr lang="fr-FR" sz="1200" dirty="0" smtClean="0"/>
              <a:t>stimer la part successorale de ses héritiers et les droits de successions de ces derniers</a:t>
            </a:r>
          </a:p>
          <a:p>
            <a:endParaRPr lang="fr-FR" sz="1200" dirty="0" smtClean="0"/>
          </a:p>
          <a:p>
            <a:endParaRPr lang="fr-FR" sz="1200" dirty="0">
              <a:sym typeface="Wingdings" panose="05000000000000000000" pitchFamily="2" charset="2"/>
            </a:endParaRPr>
          </a:p>
          <a:p>
            <a:endParaRPr lang="fr-FR" sz="1200" dirty="0" smtClean="0">
              <a:sym typeface="Wingdings" panose="05000000000000000000" pitchFamily="2" charset="2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284" y="4971029"/>
            <a:ext cx="4016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845" y="4362678"/>
            <a:ext cx="4016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1" name="Groupe 20">
            <a:extLst>
              <a:ext uri="{FF2B5EF4-FFF2-40B4-BE49-F238E27FC236}">
                <a16:creationId xmlns:a16="http://schemas.microsoft.com/office/drawing/2014/main" xmlns="" id="{E75B7A16-EC59-0943-AE25-8235A84B7A3F}"/>
              </a:ext>
            </a:extLst>
          </p:cNvPr>
          <p:cNvGrpSpPr/>
          <p:nvPr/>
        </p:nvGrpSpPr>
        <p:grpSpPr>
          <a:xfrm>
            <a:off x="4137447" y="5580354"/>
            <a:ext cx="315312" cy="308839"/>
            <a:chOff x="469024" y="2339264"/>
            <a:chExt cx="315312" cy="308839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xmlns="" id="{5448E508-08BB-2D42-A4D0-A73464E0101C}"/>
                </a:ext>
              </a:extLst>
            </p:cNvPr>
            <p:cNvSpPr/>
            <p:nvPr/>
          </p:nvSpPr>
          <p:spPr>
            <a:xfrm>
              <a:off x="469024" y="2339264"/>
              <a:ext cx="315312" cy="308839"/>
            </a:xfrm>
            <a:prstGeom prst="ellipse">
              <a:avLst/>
            </a:prstGeom>
            <a:solidFill>
              <a:schemeClr val="accent6"/>
            </a:solidFill>
            <a:ln w="25400" cap="flat">
              <a:noFill/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fr-FR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pic>
          <p:nvPicPr>
            <p:cNvPr id="23" name="Graphique 19" descr="Poids inégaux contour">
              <a:extLst>
                <a:ext uri="{FF2B5EF4-FFF2-40B4-BE49-F238E27FC236}">
                  <a16:creationId xmlns:a16="http://schemas.microsoft.com/office/drawing/2014/main" xmlns="" id="{57635B8F-0545-9446-8C0E-705AC67E6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540952" y="2400965"/>
              <a:ext cx="175156" cy="175156"/>
            </a:xfrm>
            <a:prstGeom prst="rect">
              <a:avLst/>
            </a:prstGeom>
          </p:spPr>
        </p:pic>
      </p:grp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284" y="3659205"/>
            <a:ext cx="401638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5147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fr-FR" dirty="0"/>
              <a:t>Espace Client Vie </a:t>
            </a:r>
            <a:r>
              <a:rPr lang="fr-FR" dirty="0" smtClean="0"/>
              <a:t>– Rubrique </a:t>
            </a:r>
            <a:r>
              <a:rPr lang="fr-FR" i="1" dirty="0" smtClean="0"/>
              <a:t>Actualité </a:t>
            </a:r>
            <a:r>
              <a:rPr lang="fr-FR" i="1" dirty="0"/>
              <a:t>Vie </a:t>
            </a:r>
            <a:r>
              <a:rPr lang="fr-FR" i="1" dirty="0" smtClean="0"/>
              <a:t> </a:t>
            </a:r>
            <a:r>
              <a:rPr lang="fr-FR" sz="1800" dirty="0"/>
              <a:t>Publications du T1 2023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1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207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87590" y="405908"/>
            <a:ext cx="10481203" cy="585788"/>
          </a:xfrm>
        </p:spPr>
        <p:txBody>
          <a:bodyPr/>
          <a:lstStyle/>
          <a:p>
            <a:r>
              <a:rPr lang="fr-FR" dirty="0" smtClean="0"/>
              <a:t>Actualité Vie – Publications du T1 202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2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texte 11"/>
          <p:cNvSpPr txBox="1">
            <a:spLocks/>
          </p:cNvSpPr>
          <p:nvPr/>
        </p:nvSpPr>
        <p:spPr>
          <a:xfrm>
            <a:off x="387371" y="1238147"/>
            <a:ext cx="5891286" cy="2199577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191990" tIns="0" rIns="191990" bIns="0" rtlCol="0">
            <a:spAutoFit/>
          </a:bodyPr>
          <a:lstStyle>
            <a:lvl1pPr marL="285744" indent="-285744" algn="ctr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51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51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kern="1200">
                <a:solidFill>
                  <a:schemeClr val="tx2"/>
                </a:solidFill>
                <a:latin typeface="+mn-lt"/>
                <a:ea typeface="+mn-ea"/>
                <a:cs typeface="Poppins Light" panose="00000400000000000000" pitchFamily="2" charset="0"/>
              </a:defRPr>
            </a:lvl2pPr>
            <a:lvl3pPr marL="1200121" indent="-285744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51"/>
              </a:spcAft>
              <a:buClr>
                <a:schemeClr val="bg2"/>
              </a:buClr>
              <a:buSzPct val="80000"/>
              <a:buFont typeface="Segoe UI" panose="020B0502040204020203" pitchFamily="34" charset="0"/>
              <a:buChar char="&gt;"/>
              <a:defRPr sz="1100" b="0" i="1" kern="1200">
                <a:solidFill>
                  <a:schemeClr val="tx2"/>
                </a:solidFill>
                <a:latin typeface="+mn-lt"/>
                <a:ea typeface="+mn-ea"/>
                <a:cs typeface="Poppins ExtraLight" panose="00000300000000000000" pitchFamily="2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Poppins" panose="00000500000000000000" pitchFamily="2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Poppins" panose="00000500000000000000" pitchFamily="2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82" indent="-380982" algn="l" defTabSz="1219139">
              <a:spcAft>
                <a:spcPts val="201"/>
              </a:spcAft>
              <a:buClr>
                <a:srgbClr val="2B47AF"/>
              </a:buClr>
              <a:defRPr/>
            </a:pPr>
            <a:endParaRPr lang="fr-FR" sz="1600" b="0" dirty="0" smtClean="0">
              <a:cs typeface="Poppins Light" panose="00000400000000000000" pitchFamily="2" charset="0"/>
            </a:endParaRPr>
          </a:p>
          <a:p>
            <a:pPr marL="380982" indent="-380982" algn="l" defTabSz="1219139">
              <a:spcAft>
                <a:spcPts val="201"/>
              </a:spcAft>
              <a:buClr>
                <a:srgbClr val="2B47AF"/>
              </a:buClr>
              <a:defRPr/>
            </a:pPr>
            <a:r>
              <a:rPr lang="fr-FR" sz="1600" dirty="0" smtClean="0">
                <a:cs typeface="Poppins Light" panose="00000400000000000000" pitchFamily="2" charset="0"/>
              </a:rPr>
              <a:t>Décembre 2022 </a:t>
            </a:r>
          </a:p>
          <a:p>
            <a:pPr marL="380982" indent="-380982" algn="l" defTabSz="1219139">
              <a:spcAft>
                <a:spcPts val="201"/>
              </a:spcAft>
              <a:buClr>
                <a:srgbClr val="2B47AF"/>
              </a:buClr>
              <a:buFont typeface="Wingdings" panose="05000000000000000000" pitchFamily="2" charset="2"/>
              <a:buChar char="q"/>
              <a:defRPr/>
            </a:pPr>
            <a:r>
              <a:rPr lang="fr-FR" sz="1600" b="0" dirty="0" smtClean="0">
                <a:cs typeface="Poppins Light" panose="00000400000000000000" pitchFamily="2" charset="0"/>
              </a:rPr>
              <a:t>Lancement </a:t>
            </a:r>
            <a:r>
              <a:rPr lang="fr-FR" sz="1600" b="0" dirty="0">
                <a:cs typeface="Poppins Light" panose="00000400000000000000" pitchFamily="2" charset="0"/>
              </a:rPr>
              <a:t>de la nouvelle rubrique « </a:t>
            </a:r>
            <a:r>
              <a:rPr lang="fr-FR" sz="1600" b="0" dirty="0" smtClean="0">
                <a:cs typeface="Poppins Light" panose="00000400000000000000" pitchFamily="2" charset="0"/>
              </a:rPr>
              <a:t>Actualité </a:t>
            </a:r>
            <a:r>
              <a:rPr lang="fr-FR" sz="1600" b="0" dirty="0">
                <a:cs typeface="Poppins Light" panose="00000400000000000000" pitchFamily="2" charset="0"/>
              </a:rPr>
              <a:t>Vie </a:t>
            </a:r>
            <a:r>
              <a:rPr lang="fr-FR" sz="1600" b="0" dirty="0" smtClean="0">
                <a:cs typeface="Poppins Light" panose="00000400000000000000" pitchFamily="2" charset="0"/>
              </a:rPr>
              <a:t>»</a:t>
            </a:r>
          </a:p>
          <a:p>
            <a:pPr marL="342900" indent="-342900" algn="l">
              <a:buClr>
                <a:srgbClr val="2B47AF"/>
              </a:buClr>
              <a:buFont typeface="Wingdings" panose="05000000000000000000" pitchFamily="2" charset="2"/>
              <a:buChar char="q"/>
              <a:defRPr/>
            </a:pPr>
            <a:r>
              <a:rPr lang="fr-FR" sz="1600" b="0" dirty="0" smtClean="0">
                <a:cs typeface="Poppins Light" panose="00000400000000000000" pitchFamily="2" charset="0"/>
              </a:rPr>
              <a:t>15 articles &amp; vidéos en Epargne – Prévoyance</a:t>
            </a:r>
          </a:p>
          <a:p>
            <a:pPr marL="0" indent="0" algn="l">
              <a:buClr>
                <a:srgbClr val="2B47AF"/>
              </a:buClr>
              <a:defRPr/>
            </a:pPr>
            <a:endParaRPr lang="fr-FR" sz="1600" b="0" dirty="0">
              <a:cs typeface="Poppins Light" panose="00000400000000000000" pitchFamily="2" charset="0"/>
            </a:endParaRPr>
          </a:p>
          <a:p>
            <a:pPr marL="0" indent="0" algn="l">
              <a:buClr>
                <a:srgbClr val="2B47AF"/>
              </a:buClr>
              <a:defRPr/>
            </a:pPr>
            <a:r>
              <a:rPr lang="fr-FR" sz="1600" dirty="0">
                <a:cs typeface="Poppins Light" panose="00000400000000000000" pitchFamily="2" charset="0"/>
              </a:rPr>
              <a:t>J</a:t>
            </a:r>
            <a:r>
              <a:rPr lang="fr-FR" sz="1600" dirty="0" smtClean="0">
                <a:cs typeface="Poppins Light" panose="00000400000000000000" pitchFamily="2" charset="0"/>
              </a:rPr>
              <a:t>anvier 2023</a:t>
            </a:r>
          </a:p>
          <a:p>
            <a:pPr marL="800088" lvl="1" indent="-342900">
              <a:buClr>
                <a:srgbClr val="2B47AF"/>
              </a:buClr>
              <a:buFont typeface="Wingdings" panose="05000000000000000000" pitchFamily="2" charset="2"/>
              <a:buChar char="q"/>
              <a:defRPr/>
            </a:pPr>
            <a:r>
              <a:rPr lang="fr-FR" sz="1600" b="1" dirty="0" smtClean="0"/>
              <a:t>L’annonces des taux</a:t>
            </a:r>
          </a:p>
          <a:p>
            <a:pPr marL="800088" lvl="1" indent="-342900">
              <a:buClr>
                <a:srgbClr val="2B47AF"/>
              </a:buClr>
              <a:buFont typeface="Wingdings" panose="05000000000000000000" pitchFamily="2" charset="2"/>
              <a:buChar char="q"/>
              <a:defRPr/>
            </a:pPr>
            <a:r>
              <a:rPr lang="fr-FR" sz="1600" b="1" dirty="0" smtClean="0"/>
              <a:t>Label </a:t>
            </a:r>
            <a:r>
              <a:rPr lang="fr-FR" sz="1600" b="1" dirty="0" err="1" smtClean="0"/>
              <a:t>Accolia</a:t>
            </a:r>
            <a:r>
              <a:rPr lang="fr-FR" sz="1600" b="1" dirty="0" smtClean="0"/>
              <a:t> 2023 et Capital Famille (GMF)</a:t>
            </a:r>
          </a:p>
          <a:p>
            <a:pPr marL="800088" lvl="1" indent="-342900">
              <a:buClr>
                <a:srgbClr val="2B47AF"/>
              </a:buClr>
              <a:buFont typeface="Wingdings" panose="05000000000000000000" pitchFamily="2" charset="2"/>
              <a:buChar char="q"/>
              <a:defRPr/>
            </a:pPr>
            <a:endParaRPr lang="fr-FR" sz="1600" b="0" dirty="0">
              <a:cs typeface="Poppins Light" panose="00000400000000000000" pitchFamily="2" charset="0"/>
            </a:endParaRPr>
          </a:p>
        </p:txBody>
      </p:sp>
      <p:grpSp>
        <p:nvGrpSpPr>
          <p:cNvPr id="11" name="Groupe 10"/>
          <p:cNvGrpSpPr/>
          <p:nvPr/>
        </p:nvGrpSpPr>
        <p:grpSpPr>
          <a:xfrm>
            <a:off x="358796" y="3383179"/>
            <a:ext cx="5518210" cy="1580814"/>
            <a:chOff x="7502465" y="1632367"/>
            <a:chExt cx="4365685" cy="1580814"/>
          </a:xfrm>
        </p:grpSpPr>
        <p:sp>
          <p:nvSpPr>
            <p:cNvPr id="12" name="Espace réservé du texte 11"/>
            <p:cNvSpPr txBox="1">
              <a:spLocks/>
            </p:cNvSpPr>
            <p:nvPr/>
          </p:nvSpPr>
          <p:spPr>
            <a:xfrm>
              <a:off x="7502465" y="1780994"/>
              <a:ext cx="4365685" cy="1432187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191990" tIns="0" rIns="191990" bIns="0" rtlCol="0">
              <a:spAutoFit/>
            </a:bodyPr>
            <a:lstStyle>
              <a:lvl1pPr marL="285744" indent="-285744" algn="ctr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1"/>
                </a:spcAft>
                <a:buClr>
                  <a:schemeClr val="bg2"/>
                </a:buClr>
                <a:buSzPct val="80000"/>
                <a:buFont typeface="Arial" panose="020B0604020202020204" pitchFamily="34" charset="0"/>
                <a:buNone/>
                <a:defRPr sz="15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742932" indent="-285744" algn="l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1"/>
                </a:spcAft>
                <a:buClr>
                  <a:schemeClr val="tx2"/>
                </a:buClr>
                <a:buSzPct val="80000"/>
                <a:buFont typeface="Wingdings" panose="05000000000000000000" pitchFamily="2" charset="2"/>
                <a:buChar char="§"/>
                <a:defRPr sz="1200" b="0" kern="1200">
                  <a:solidFill>
                    <a:schemeClr val="tx2"/>
                  </a:solidFill>
                  <a:latin typeface="+mn-lt"/>
                  <a:ea typeface="+mn-ea"/>
                  <a:cs typeface="Poppins Light" panose="00000400000000000000" pitchFamily="2" charset="0"/>
                </a:defRPr>
              </a:lvl2pPr>
              <a:lvl3pPr marL="1200121" indent="-285744" algn="l" defTabSz="91437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1"/>
                </a:spcAft>
                <a:buClr>
                  <a:schemeClr val="bg2"/>
                </a:buClr>
                <a:buSzPct val="80000"/>
                <a:buFont typeface="Segoe UI" panose="020B0502040204020203" pitchFamily="34" charset="0"/>
                <a:buChar char="&gt;"/>
                <a:defRPr sz="1100" b="0" i="1" kern="1200">
                  <a:solidFill>
                    <a:schemeClr val="tx2"/>
                  </a:solidFill>
                  <a:latin typeface="+mn-lt"/>
                  <a:ea typeface="+mn-ea"/>
                  <a:cs typeface="Poppins ExtraLight" panose="00000300000000000000" pitchFamily="2" charset="0"/>
                </a:defRPr>
              </a:lvl3pPr>
              <a:lvl4pPr marL="1371566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Poppins" panose="00000500000000000000" pitchFamily="2" charset="0"/>
                <a:buNone/>
                <a:defRPr sz="11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chemeClr val="tx2"/>
                </a:buClr>
                <a:buFont typeface="Poppins" panose="00000500000000000000" pitchFamily="2" charset="0"/>
                <a:buNone/>
                <a:defRPr sz="11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80982" indent="-380982" algn="l" defTabSz="1219139">
                <a:spcAft>
                  <a:spcPts val="201"/>
                </a:spcAft>
                <a:buClr>
                  <a:srgbClr val="2B47AF"/>
                </a:buClr>
                <a:defRPr/>
              </a:pPr>
              <a:r>
                <a:rPr lang="fr-FR" sz="1600" dirty="0" smtClean="0">
                  <a:cs typeface="Poppins Light" panose="00000400000000000000" pitchFamily="2" charset="0"/>
                </a:rPr>
                <a:t>Février 2022 </a:t>
              </a:r>
            </a:p>
            <a:p>
              <a:pPr marL="800088" lvl="1" indent="-342900">
                <a:buClr>
                  <a:srgbClr val="2B47AF"/>
                </a:buClr>
                <a:buFont typeface="Wingdings" panose="05000000000000000000" pitchFamily="2" charset="2"/>
                <a:buChar char="q"/>
                <a:defRPr/>
              </a:pPr>
              <a:r>
                <a:rPr lang="fr-FR" sz="1600" b="1" dirty="0" smtClean="0"/>
                <a:t>Vidéo </a:t>
              </a:r>
              <a:r>
                <a:rPr lang="fr-FR" sz="1600" b="1" dirty="0"/>
                <a:t>promo de l’Espace Client</a:t>
              </a:r>
            </a:p>
            <a:p>
              <a:pPr marL="800088" lvl="1" indent="-342900">
                <a:buClr>
                  <a:srgbClr val="2B47AF"/>
                </a:buClr>
                <a:buFont typeface="Wingdings" panose="05000000000000000000" pitchFamily="2" charset="2"/>
                <a:buChar char="q"/>
                <a:defRPr/>
              </a:pPr>
              <a:r>
                <a:rPr lang="fr-FR" sz="1600" b="1" dirty="0"/>
                <a:t>Le Soutient à la Fondation des apprentis </a:t>
              </a:r>
              <a:r>
                <a:rPr lang="fr-FR" sz="1600" b="1" dirty="0" smtClean="0"/>
                <a:t>d’Auteuil</a:t>
              </a:r>
            </a:p>
            <a:p>
              <a:pPr marL="800088" lvl="1" indent="-342900">
                <a:buClr>
                  <a:srgbClr val="2B47AF"/>
                </a:buClr>
                <a:buFont typeface="Wingdings" panose="05000000000000000000" pitchFamily="2" charset="2"/>
                <a:buChar char="q"/>
                <a:defRPr/>
              </a:pPr>
              <a:r>
                <a:rPr lang="fr-FR" sz="1600" b="1" dirty="0" smtClean="0"/>
                <a:t>Com </a:t>
              </a:r>
              <a:r>
                <a:rPr lang="fr-FR" sz="1600" b="1" dirty="0"/>
                <a:t>UC 1 </a:t>
              </a:r>
            </a:p>
            <a:p>
              <a:pPr marL="0" indent="0" algn="l">
                <a:buClr>
                  <a:srgbClr val="2B47AF"/>
                </a:buClr>
                <a:defRPr/>
              </a:pPr>
              <a:endParaRPr lang="fr-FR" sz="1600" b="0" dirty="0">
                <a:cs typeface="Poppins Light" panose="00000400000000000000" pitchFamily="2" charset="0"/>
              </a:endParaRPr>
            </a:p>
          </p:txBody>
        </p:sp>
        <p:sp>
          <p:nvSpPr>
            <p:cNvPr id="13" name="Demi-cadre 12"/>
            <p:cNvSpPr/>
            <p:nvPr/>
          </p:nvSpPr>
          <p:spPr>
            <a:xfrm>
              <a:off x="7523377" y="1632367"/>
              <a:ext cx="375139" cy="465708"/>
            </a:xfrm>
            <a:prstGeom prst="halfFram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</p:grpSp>
      <p:sp>
        <p:nvSpPr>
          <p:cNvPr id="24" name="Demi-cadre 23"/>
          <p:cNvSpPr/>
          <p:nvPr/>
        </p:nvSpPr>
        <p:spPr>
          <a:xfrm>
            <a:off x="377622" y="3382446"/>
            <a:ext cx="474174" cy="465708"/>
          </a:xfrm>
          <a:prstGeom prst="halfFram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5" name="Demi-cadre 24"/>
          <p:cNvSpPr/>
          <p:nvPr/>
        </p:nvSpPr>
        <p:spPr>
          <a:xfrm>
            <a:off x="397629" y="1343542"/>
            <a:ext cx="474174" cy="465708"/>
          </a:xfrm>
          <a:prstGeom prst="halfFram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6" name="Demi-cadre 25"/>
          <p:cNvSpPr/>
          <p:nvPr/>
        </p:nvSpPr>
        <p:spPr>
          <a:xfrm>
            <a:off x="400739" y="2323020"/>
            <a:ext cx="474174" cy="465708"/>
          </a:xfrm>
          <a:prstGeom prst="halfFram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9" name="Picture 2" descr="Afficher l’image sourc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74" y="5167314"/>
            <a:ext cx="722480" cy="722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e 9"/>
          <p:cNvGrpSpPr/>
          <p:nvPr/>
        </p:nvGrpSpPr>
        <p:grpSpPr>
          <a:xfrm>
            <a:off x="2438104" y="4599171"/>
            <a:ext cx="5362223" cy="2186315"/>
            <a:chOff x="2061206" y="4625758"/>
            <a:chExt cx="5247923" cy="2186315"/>
          </a:xfrm>
        </p:grpSpPr>
        <p:sp>
          <p:nvSpPr>
            <p:cNvPr id="14" name="Rectangle 13"/>
            <p:cNvSpPr/>
            <p:nvPr/>
          </p:nvSpPr>
          <p:spPr>
            <a:xfrm>
              <a:off x="3115528" y="5565578"/>
              <a:ext cx="4153563" cy="124649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180975" lvl="0">
                <a:spcBef>
                  <a:spcPts val="600"/>
                </a:spcBef>
                <a:buClr>
                  <a:schemeClr val="tx2"/>
                </a:buClr>
                <a:defRPr/>
              </a:pPr>
              <a:r>
                <a:rPr lang="fr-FR" sz="1000" b="1" dirty="0" smtClean="0">
                  <a:solidFill>
                    <a:srgbClr val="AE9A64"/>
                  </a:solidFill>
                </a:rPr>
                <a:t>SOLUTIONS </a:t>
              </a:r>
              <a:r>
                <a:rPr lang="fr-FR" sz="1000" b="1" dirty="0">
                  <a:solidFill>
                    <a:srgbClr val="AE9A64"/>
                  </a:solidFill>
                </a:rPr>
                <a:t>D’INVESTISSEMENT : </a:t>
              </a:r>
              <a:r>
                <a:rPr lang="fr-FR" sz="1000" b="1" dirty="0">
                  <a:solidFill>
                    <a:srgbClr val="5B6971"/>
                  </a:solidFill>
                </a:rPr>
                <a:t>Présentation des 4 nouveaux  </a:t>
              </a:r>
              <a:r>
                <a:rPr lang="fr-FR" sz="1000" b="1" dirty="0" smtClean="0">
                  <a:solidFill>
                    <a:srgbClr val="5B6971"/>
                  </a:solidFill>
                </a:rPr>
                <a:t> fonds </a:t>
              </a:r>
              <a:r>
                <a:rPr lang="fr-FR" sz="1000" b="1" dirty="0">
                  <a:solidFill>
                    <a:srgbClr val="5B6971"/>
                  </a:solidFill>
                </a:rPr>
                <a:t>à thématique environnementale labellisés ISR</a:t>
              </a:r>
              <a:r>
                <a:rPr lang="fr-FR" sz="1000" dirty="0" smtClean="0">
                  <a:solidFill>
                    <a:srgbClr val="5B6971"/>
                  </a:solidFill>
                </a:rPr>
                <a:t>.</a:t>
              </a:r>
            </a:p>
            <a:p>
              <a:pPr marL="180975" lvl="0">
                <a:spcBef>
                  <a:spcPts val="600"/>
                </a:spcBef>
                <a:buClr>
                  <a:schemeClr val="tx2"/>
                </a:buClr>
                <a:defRPr/>
              </a:pPr>
              <a:r>
                <a:rPr lang="fr-FR" sz="1000" dirty="0" smtClean="0">
                  <a:solidFill>
                    <a:srgbClr val="5B6971"/>
                  </a:solidFill>
                </a:rPr>
                <a:t> </a:t>
              </a:r>
              <a:r>
                <a:rPr lang="fr-FR" sz="1000" b="1" dirty="0" smtClean="0">
                  <a:solidFill>
                    <a:srgbClr val="AE9A64"/>
                  </a:solidFill>
                </a:rPr>
                <a:t>FAQ/VRAI-FAUX </a:t>
              </a:r>
              <a:r>
                <a:rPr lang="fr-FR" sz="1000" b="1" dirty="0">
                  <a:solidFill>
                    <a:srgbClr val="AE9A64"/>
                  </a:solidFill>
                </a:rPr>
                <a:t>: </a:t>
              </a:r>
              <a:r>
                <a:rPr lang="fr-FR" sz="1000" b="1" dirty="0">
                  <a:solidFill>
                    <a:srgbClr val="5B6971"/>
                  </a:solidFill>
                </a:rPr>
                <a:t>Idée reçue n°1 : </a:t>
              </a:r>
              <a:r>
                <a:rPr lang="fr-FR" sz="1000" dirty="0">
                  <a:solidFill>
                    <a:srgbClr val="5B6971"/>
                  </a:solidFill>
                </a:rPr>
                <a:t>Le fonds en euro est-il toujours la bonne solution pour investir quoi qu’il arrive ? (réponse : Ça </a:t>
              </a:r>
              <a:r>
                <a:rPr lang="fr-FR" sz="1000" dirty="0" smtClean="0">
                  <a:solidFill>
                    <a:srgbClr val="5B6971"/>
                  </a:solidFill>
                </a:rPr>
                <a:t>dépend) / </a:t>
              </a:r>
              <a:r>
                <a:rPr lang="fr-FR" sz="1000" b="1" dirty="0" smtClean="0">
                  <a:solidFill>
                    <a:srgbClr val="5B6971"/>
                  </a:solidFill>
                </a:rPr>
                <a:t>Idée </a:t>
              </a:r>
              <a:r>
                <a:rPr lang="fr-FR" sz="1000" b="1" dirty="0">
                  <a:solidFill>
                    <a:srgbClr val="5B6971"/>
                  </a:solidFill>
                </a:rPr>
                <a:t>reçue n°2 : </a:t>
              </a:r>
              <a:r>
                <a:rPr lang="fr-FR" sz="1000" dirty="0">
                  <a:solidFill>
                    <a:srgbClr val="5B6971"/>
                  </a:solidFill>
                </a:rPr>
                <a:t>Les sommes placées sur mon contrat d'assurance vie en UC sont moins facilement récupérables que sur le fonds en euro (réponse : FAUX</a:t>
              </a:r>
              <a:r>
                <a:rPr lang="fr-FR" sz="1000" dirty="0" smtClean="0">
                  <a:solidFill>
                    <a:srgbClr val="5B6971"/>
                  </a:solidFill>
                </a:rPr>
                <a:t>)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400062" y="6047875"/>
              <a:ext cx="712771" cy="1603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 smtClean="0">
                  <a:solidFill>
                    <a:srgbClr val="4B4B4B"/>
                  </a:solidFill>
                </a:rPr>
                <a:t>Article</a:t>
              </a:r>
              <a:endParaRPr lang="fr-FR" sz="1100" dirty="0">
                <a:solidFill>
                  <a:srgbClr val="4B4B4B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331482" y="5542992"/>
              <a:ext cx="947491" cy="2967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 smtClean="0">
                  <a:solidFill>
                    <a:srgbClr val="4B4B4B"/>
                  </a:solidFill>
                </a:rPr>
                <a:t>Infographie</a:t>
              </a:r>
              <a:endParaRPr lang="fr-FR" sz="1100" dirty="0">
                <a:solidFill>
                  <a:srgbClr val="4B4B4B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529602" y="5193901"/>
              <a:ext cx="536898" cy="1603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 smtClean="0">
                  <a:solidFill>
                    <a:srgbClr val="4B4B4B"/>
                  </a:solidFill>
                </a:rPr>
                <a:t>Vidéo</a:t>
              </a:r>
              <a:endParaRPr lang="fr-FR" sz="1100" dirty="0">
                <a:solidFill>
                  <a:srgbClr val="4B4B4B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275182" y="4653766"/>
              <a:ext cx="1026071" cy="17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dirty="0" smtClean="0">
                  <a:solidFill>
                    <a:srgbClr val="4B4B4B"/>
                  </a:solidFill>
                </a:rPr>
                <a:t>Podcast</a:t>
              </a:r>
              <a:endParaRPr lang="fr-FR" sz="1100" dirty="0">
                <a:solidFill>
                  <a:srgbClr val="4B4B4B"/>
                </a:solidFill>
              </a:endParaRP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8867" y="4625758"/>
              <a:ext cx="145436" cy="238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4068" y="5126550"/>
              <a:ext cx="311234" cy="289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1206" y="5574713"/>
              <a:ext cx="320758" cy="248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1206" y="5992158"/>
              <a:ext cx="320758" cy="257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3107145" y="4648618"/>
              <a:ext cx="420198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lvl="0">
                <a:spcBef>
                  <a:spcPts val="600"/>
                </a:spcBef>
                <a:buClr>
                  <a:schemeClr val="tx2"/>
                </a:buClr>
                <a:defRPr/>
              </a:pPr>
              <a:r>
                <a:rPr lang="fr-FR" sz="1000" b="1" dirty="0">
                  <a:solidFill>
                    <a:srgbClr val="AE9A64"/>
                  </a:solidFill>
                </a:rPr>
                <a:t>EDITO</a:t>
              </a:r>
              <a:r>
                <a:rPr lang="fr-FR" sz="1000" dirty="0">
                  <a:solidFill>
                    <a:srgbClr val="AE9A64"/>
                  </a:solidFill>
                </a:rPr>
                <a:t> </a:t>
              </a:r>
              <a:r>
                <a:rPr lang="fr-FR" sz="1000" dirty="0"/>
                <a:t>: </a:t>
              </a:r>
              <a:r>
                <a:rPr lang="fr-FR" sz="1000" b="1" dirty="0">
                  <a:solidFill>
                    <a:srgbClr val="5B6971"/>
                  </a:solidFill>
                </a:rPr>
                <a:t>Inflation</a:t>
              </a:r>
              <a:r>
                <a:rPr lang="fr-FR" sz="1000" dirty="0">
                  <a:solidFill>
                    <a:srgbClr val="5B6971"/>
                  </a:solidFill>
                </a:rPr>
                <a:t> : par-delà la hausse des prix, il faut bien comprendre le mécanisme de perte de valeur de l’épargne et savoir mettre en place une stratégie de diversification</a:t>
              </a:r>
              <a:r>
                <a:rPr lang="fr-FR" sz="1000" dirty="0" smtClean="0">
                  <a:solidFill>
                    <a:srgbClr val="5B6971"/>
                  </a:solidFill>
                </a:rPr>
                <a:t>.</a:t>
              </a:r>
              <a:endParaRPr lang="fr-FR" sz="1000" b="1" dirty="0">
                <a:solidFill>
                  <a:srgbClr val="AE9A64"/>
                </a:solidFill>
              </a:endParaRPr>
            </a:p>
            <a:p>
              <a:pPr marL="180975" lvl="0">
                <a:spcBef>
                  <a:spcPts val="600"/>
                </a:spcBef>
                <a:buClr>
                  <a:schemeClr val="tx2"/>
                </a:buClr>
                <a:defRPr/>
              </a:pPr>
              <a:r>
                <a:rPr lang="fr-FR" sz="1000" b="1" dirty="0">
                  <a:solidFill>
                    <a:srgbClr val="AE9A64"/>
                  </a:solidFill>
                </a:rPr>
                <a:t>PEDAGOGIE UC </a:t>
              </a:r>
              <a:r>
                <a:rPr lang="fr-FR" sz="1000" dirty="0"/>
                <a:t>: </a:t>
              </a:r>
              <a:r>
                <a:rPr lang="fr-FR" sz="1000" b="1" dirty="0">
                  <a:solidFill>
                    <a:srgbClr val="5B6971"/>
                  </a:solidFill>
                </a:rPr>
                <a:t>Finance durable, de quoi s’agit-il ?</a:t>
              </a:r>
            </a:p>
            <a:p>
              <a:pPr marL="180975" lvl="0">
                <a:spcBef>
                  <a:spcPts val="600"/>
                </a:spcBef>
                <a:buClr>
                  <a:schemeClr val="tx2"/>
                </a:buClr>
                <a:defRPr/>
              </a:pPr>
              <a:endParaRPr lang="fr-FR" sz="1000" b="1" dirty="0">
                <a:solidFill>
                  <a:srgbClr val="AE9A64"/>
                </a:solidFill>
              </a:endParaRPr>
            </a:p>
          </p:txBody>
        </p:sp>
      </p:grpSp>
      <p:pic>
        <p:nvPicPr>
          <p:cNvPr id="4101" name="Picture 5" descr="C:\Users\A71874\Desktop\Capture web_9-2-2023_94831_bo-jahia-72.covea.fr.jpe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24" r="28672" b="14291"/>
          <a:stretch/>
        </p:blipFill>
        <p:spPr bwMode="auto">
          <a:xfrm>
            <a:off x="7904469" y="3513909"/>
            <a:ext cx="1764110" cy="196570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72" r="31022" b="37000"/>
          <a:stretch/>
        </p:blipFill>
        <p:spPr bwMode="auto">
          <a:xfrm>
            <a:off x="6886089" y="1075886"/>
            <a:ext cx="2396410" cy="23065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29" r="29451" b="20350"/>
          <a:stretch/>
        </p:blipFill>
        <p:spPr bwMode="auto">
          <a:xfrm>
            <a:off x="9983539" y="718845"/>
            <a:ext cx="1806186" cy="51967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6886089" y="1075886"/>
            <a:ext cx="2511911" cy="2438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45600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ilotage : suivi des résultats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3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7668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4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674628" y="1692184"/>
            <a:ext cx="11019532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 smtClean="0"/>
              <a:t>Synthès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fr-FR" sz="2400" b="1" dirty="0" smtClean="0"/>
          </a:p>
          <a:p>
            <a:pPr marL="342900" lvl="0" indent="-342900">
              <a:buFont typeface="Wingdings" panose="05000000000000000000" pitchFamily="2" charset="2"/>
              <a:buChar char="q"/>
            </a:pPr>
            <a:r>
              <a:rPr lang="fr-FR" dirty="0"/>
              <a:t>VU </a:t>
            </a:r>
            <a:r>
              <a:rPr lang="fr-FR" dirty="0" smtClean="0">
                <a:sym typeface="Wingdings" panose="05000000000000000000" pitchFamily="2" charset="2"/>
              </a:rPr>
              <a:t></a:t>
            </a:r>
            <a:r>
              <a:rPr lang="fr-FR" dirty="0" smtClean="0"/>
              <a:t> </a:t>
            </a:r>
            <a:r>
              <a:rPr lang="fr-FR" dirty="0"/>
              <a:t>Le nb de VU a doublé vs. jan 2022, même si en baisse par rapport à la fin d’année 2022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dirty="0"/>
              <a:t>RP </a:t>
            </a:r>
            <a:r>
              <a:rPr lang="fr-FR" dirty="0" smtClean="0">
                <a:sym typeface="Wingdings" panose="05000000000000000000" pitchFamily="2" charset="2"/>
              </a:rPr>
              <a:t></a:t>
            </a:r>
            <a:r>
              <a:rPr lang="fr-FR" dirty="0" smtClean="0"/>
              <a:t> </a:t>
            </a:r>
            <a:r>
              <a:rPr lang="fr-FR" dirty="0"/>
              <a:t>Tendance en hausse, soit +</a:t>
            </a:r>
            <a:r>
              <a:rPr lang="fr-FR" dirty="0" smtClean="0"/>
              <a:t>25 % </a:t>
            </a:r>
            <a:r>
              <a:rPr lang="fr-FR" dirty="0"/>
              <a:t>d’actes vs M-1</a:t>
            </a:r>
            <a:endParaRPr lang="fr-FR" sz="2000" kern="0" dirty="0">
              <a:solidFill>
                <a:schemeClr val="bg1"/>
              </a:solidFill>
            </a:endParaRPr>
          </a:p>
          <a:p>
            <a:pPr marL="342900" indent="-342900">
              <a:buFontTx/>
              <a:buChar char="-"/>
            </a:pPr>
            <a:endParaRPr lang="fr-FR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Pilotage – </a:t>
            </a:r>
            <a:r>
              <a:rPr lang="fr-FR" sz="2400" dirty="0" err="1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reporting</a:t>
            </a:r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 de janvier 2022 à janvier 2023</a:t>
            </a:r>
            <a:endParaRPr lang="fr-FR" sz="2400" dirty="0">
              <a:solidFill>
                <a:schemeClr val="accent1"/>
              </a:solidFill>
              <a:latin typeface="Segoe UI" panose="020B0502040204020203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67542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BBF80AA9-DE4F-074C-A2FC-1899284F33E3}"/>
              </a:ext>
            </a:extLst>
          </p:cNvPr>
          <p:cNvSpPr/>
          <p:nvPr/>
        </p:nvSpPr>
        <p:spPr>
          <a:xfrm>
            <a:off x="101299" y="1099678"/>
            <a:ext cx="12090703" cy="5758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533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BF80AA9-DE4F-074C-A2FC-1899284F33E3}"/>
              </a:ext>
            </a:extLst>
          </p:cNvPr>
          <p:cNvSpPr/>
          <p:nvPr/>
        </p:nvSpPr>
        <p:spPr>
          <a:xfrm>
            <a:off x="6490" y="843280"/>
            <a:ext cx="12185512" cy="603086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121912" tIns="60956" rIns="121912" bIns="60956" rtlCol="0" anchor="ctr"/>
          <a:lstStyle/>
          <a:p>
            <a:pPr marL="0" marR="0" lvl="0" indent="0" algn="ctr" defTabSz="12191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Espace réservé du numéro de diapositive 3">
            <a:extLst>
              <a:ext uri="{FF2B5EF4-FFF2-40B4-BE49-F238E27FC236}">
                <a16:creationId xmlns:a16="http://schemas.microsoft.com/office/drawing/2014/main" xmlns="" id="{2E06670B-84D1-6E44-85F4-B754E4361B70}"/>
              </a:ext>
            </a:extLst>
          </p:cNvPr>
          <p:cNvSpPr txBox="1">
            <a:spLocks/>
          </p:cNvSpPr>
          <p:nvPr/>
        </p:nvSpPr>
        <p:spPr>
          <a:xfrm>
            <a:off x="11404837" y="6290888"/>
            <a:ext cx="685867" cy="365125"/>
          </a:xfrm>
          <a:prstGeom prst="rect">
            <a:avLst/>
          </a:prstGeom>
        </p:spPr>
        <p:txBody>
          <a:bodyPr vert="horz" lIns="121914" tIns="60957" rIns="121914" bIns="60957" rtlCol="0" anchor="ctr"/>
          <a:lstStyle>
            <a:defPPr>
              <a:defRPr lang="fr-FR"/>
            </a:defPPr>
            <a:lvl1pPr marL="0" algn="r" defTabSz="914400" rtl="0" eaLnBrk="1" latinLnBrk="0" hangingPunct="1">
              <a:defRPr sz="13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C6585-F38B-41B2-AB3D-F869C80BC918}" type="slidenum">
              <a:rPr kumimoji="0" lang="fr-FR" sz="1300" b="1" i="0" u="none" strike="noStrike" kern="1200" cap="none" spc="0" normalizeH="0" baseline="0" noProof="0" smtClean="0">
                <a:ln>
                  <a:noFill/>
                </a:ln>
                <a:solidFill>
                  <a:srgbClr val="53677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300" b="1" i="0" u="none" strike="noStrike" kern="1200" cap="none" spc="0" normalizeH="0" baseline="0" noProof="0">
              <a:ln>
                <a:noFill/>
              </a:ln>
              <a:solidFill>
                <a:srgbClr val="53677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Rectangle à coins arrondis 47"/>
          <p:cNvSpPr/>
          <p:nvPr/>
        </p:nvSpPr>
        <p:spPr>
          <a:xfrm>
            <a:off x="3845790" y="1363427"/>
            <a:ext cx="687371" cy="330487"/>
          </a:xfrm>
          <a:prstGeom prst="wedgeRoundRectCallout">
            <a:avLst>
              <a:gd name="adj1" fmla="val -23605"/>
              <a:gd name="adj2" fmla="val 102850"/>
              <a:gd name="adj3" fmla="val 16667"/>
            </a:avLst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 dirty="0"/>
              <a:t>MEP VU avril 2021</a:t>
            </a:r>
          </a:p>
        </p:txBody>
      </p:sp>
      <p:sp>
        <p:nvSpPr>
          <p:cNvPr id="56" name="Espace réservé du texte 5">
            <a:extLst>
              <a:ext uri="{FF2B5EF4-FFF2-40B4-BE49-F238E27FC236}">
                <a16:creationId xmlns:a16="http://schemas.microsoft.com/office/drawing/2014/main" xmlns="" id="{B337EFB1-0B3E-9049-8123-D9DAE5DC0C19}"/>
              </a:ext>
            </a:extLst>
          </p:cNvPr>
          <p:cNvSpPr txBox="1">
            <a:spLocks/>
          </p:cNvSpPr>
          <p:nvPr/>
        </p:nvSpPr>
        <p:spPr>
          <a:xfrm>
            <a:off x="944404" y="1038057"/>
            <a:ext cx="2821876" cy="384043"/>
          </a:xfrm>
          <a:prstGeom prst="rect">
            <a:avLst/>
          </a:prstGeom>
        </p:spPr>
        <p:txBody>
          <a:bodyPr lIns="121912" tIns="60956" rIns="121912" bIns="60956"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20000"/>
              <a:buFont typeface="Arial" panose="020B0604020202020204" pitchFamily="34" charset="0"/>
              <a:buChar char="•"/>
              <a:defRPr sz="18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65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1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37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09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6192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0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Versements Ultérieurs</a:t>
            </a:r>
          </a:p>
        </p:txBody>
      </p:sp>
      <p:pic>
        <p:nvPicPr>
          <p:cNvPr id="52" name="Espace réservé pour une image  28">
            <a:extLst>
              <a:ext uri="{FF2B5EF4-FFF2-40B4-BE49-F238E27FC236}">
                <a16:creationId xmlns:a16="http://schemas.microsoft.com/office/drawing/2014/main" xmlns="" id="{6717323F-2DBD-3241-AEC1-80B515CCD0A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04"/>
          <a:stretch/>
        </p:blipFill>
        <p:spPr>
          <a:xfrm>
            <a:off x="1" y="1115820"/>
            <a:ext cx="844327" cy="612561"/>
          </a:xfrm>
          <a:prstGeom prst="rect">
            <a:avLst/>
          </a:prstGeom>
        </p:spPr>
      </p:pic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xmlns="" id="{0EDC2848-A964-F247-B543-9704550E5E53}"/>
              </a:ext>
            </a:extLst>
          </p:cNvPr>
          <p:cNvSpPr txBox="1">
            <a:spLocks/>
          </p:cNvSpPr>
          <p:nvPr/>
        </p:nvSpPr>
        <p:spPr>
          <a:xfrm>
            <a:off x="844328" y="3819337"/>
            <a:ext cx="2235288" cy="384043"/>
          </a:xfrm>
          <a:prstGeom prst="rect">
            <a:avLst/>
          </a:prstGeom>
        </p:spPr>
        <p:txBody>
          <a:bodyPr lIns="121912" tIns="60956" rIns="121912" bIns="60956"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20000"/>
              <a:buFont typeface="Arial" panose="020B0604020202020204" pitchFamily="34" charset="0"/>
              <a:buChar char="•"/>
              <a:defRPr sz="18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65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1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37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09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6192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0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1F497D"/>
                </a:solidFill>
              </a:rPr>
              <a:t>Versements Auto.</a:t>
            </a:r>
            <a:endParaRPr kumimoji="0" lang="fr-FR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5" name="Espace réservé du contenu 5">
            <a:extLst>
              <a:ext uri="{FF2B5EF4-FFF2-40B4-BE49-F238E27FC236}">
                <a16:creationId xmlns:a16="http://schemas.microsoft.com/office/drawing/2014/main" xmlns="" id="{8F741DD7-5B06-CA4D-94FE-8D1D720223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3308453"/>
              </p:ext>
            </p:extLst>
          </p:nvPr>
        </p:nvGraphicFramePr>
        <p:xfrm>
          <a:off x="256567" y="1283648"/>
          <a:ext cx="10242851" cy="229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Espace réservé du contenu 5">
            <a:extLst>
              <a:ext uri="{FF2B5EF4-FFF2-40B4-BE49-F238E27FC236}">
                <a16:creationId xmlns:a16="http://schemas.microsoft.com/office/drawing/2014/main" xmlns="" id="{8F741DD7-5B06-CA4D-94FE-8D1D720223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9681931"/>
              </p:ext>
            </p:extLst>
          </p:nvPr>
        </p:nvGraphicFramePr>
        <p:xfrm>
          <a:off x="256567" y="4011358"/>
          <a:ext cx="10180103" cy="2524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CBCAED17-F774-CA4C-BF69-F52BD96986A1}"/>
              </a:ext>
            </a:extLst>
          </p:cNvPr>
          <p:cNvSpPr/>
          <p:nvPr/>
        </p:nvSpPr>
        <p:spPr>
          <a:xfrm>
            <a:off x="10564154" y="2657593"/>
            <a:ext cx="1525347" cy="775081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lIns="121912" tIns="60956" rIns="121912" bIns="60956" rtlCol="0" anchor="ctr"/>
          <a:lstStyle/>
          <a:p>
            <a:pPr lvl="0" algn="ctr" defTabSz="1219110">
              <a:defRPr/>
            </a:pPr>
            <a:r>
              <a:rPr lang="fr-FR" sz="1100" kern="0" dirty="0" smtClean="0">
                <a:solidFill>
                  <a:schemeClr val="bg1"/>
                </a:solidFill>
              </a:rPr>
              <a:t>Le nb de VU a doublé vs. jan 2022, même si en baisse par rapport à la fin d’année 2022</a:t>
            </a:r>
            <a:endParaRPr lang="fr-FR" sz="1100" kern="0" dirty="0">
              <a:solidFill>
                <a:schemeClr val="bg1"/>
              </a:solidFill>
            </a:endParaRPr>
          </a:p>
        </p:txBody>
      </p:sp>
      <p:graphicFrame>
        <p:nvGraphicFramePr>
          <p:cNvPr id="19" name="Tableau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855092"/>
              </p:ext>
            </p:extLst>
          </p:nvPr>
        </p:nvGraphicFramePr>
        <p:xfrm>
          <a:off x="499621" y="3449268"/>
          <a:ext cx="9937048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1315"/>
                <a:gridCol w="681349"/>
                <a:gridCol w="687261"/>
                <a:gridCol w="675319"/>
                <a:gridCol w="715516"/>
                <a:gridCol w="691397"/>
                <a:gridCol w="707477"/>
                <a:gridCol w="691397"/>
                <a:gridCol w="691399"/>
                <a:gridCol w="707477"/>
                <a:gridCol w="691397"/>
                <a:gridCol w="691397"/>
                <a:gridCol w="698771"/>
                <a:gridCol w="425576"/>
              </a:tblGrid>
              <a:tr h="24509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Montant moyen</a:t>
                      </a:r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par acte 2023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4,3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leau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376377"/>
              </p:ext>
            </p:extLst>
          </p:nvPr>
        </p:nvGraphicFramePr>
        <p:xfrm>
          <a:off x="471637" y="6153728"/>
          <a:ext cx="9782766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3212"/>
                <a:gridCol w="694367"/>
                <a:gridCol w="677837"/>
                <a:gridCol w="671126"/>
                <a:gridCol w="711393"/>
                <a:gridCol w="691260"/>
                <a:gridCol w="671126"/>
                <a:gridCol w="731527"/>
                <a:gridCol w="684549"/>
                <a:gridCol w="677837"/>
                <a:gridCol w="697970"/>
                <a:gridCol w="650993"/>
                <a:gridCol w="671126"/>
                <a:gridCol w="458443"/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Montant moyen</a:t>
                      </a:r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par acte 2023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Tableau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970905"/>
              </p:ext>
            </p:extLst>
          </p:nvPr>
        </p:nvGraphicFramePr>
        <p:xfrm>
          <a:off x="9986211" y="2511879"/>
          <a:ext cx="450459" cy="9310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0459"/>
              </a:tblGrid>
              <a:tr h="18620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Total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8620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758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8620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98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8620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3217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8620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420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Tableau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702158"/>
              </p:ext>
            </p:extLst>
          </p:nvPr>
        </p:nvGraphicFramePr>
        <p:xfrm>
          <a:off x="9812220" y="5179931"/>
          <a:ext cx="442183" cy="988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2183"/>
              </a:tblGrid>
              <a:tr h="197704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Total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7704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74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7704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4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7704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177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7704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25" name="Connecteur droit 24"/>
          <p:cNvCxnSpPr/>
          <p:nvPr/>
        </p:nvCxnSpPr>
        <p:spPr>
          <a:xfrm>
            <a:off x="9991015" y="3442912"/>
            <a:ext cx="4456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/>
        </p:nvCxnSpPr>
        <p:spPr>
          <a:xfrm>
            <a:off x="9808748" y="6153728"/>
            <a:ext cx="4456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96" y="117079"/>
            <a:ext cx="7635875" cy="101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659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BBF80AA9-DE4F-074C-A2FC-1899284F33E3}"/>
              </a:ext>
            </a:extLst>
          </p:cNvPr>
          <p:cNvSpPr/>
          <p:nvPr/>
        </p:nvSpPr>
        <p:spPr>
          <a:xfrm>
            <a:off x="101299" y="1099678"/>
            <a:ext cx="12090703" cy="5758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533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BF80AA9-DE4F-074C-A2FC-1899284F33E3}"/>
              </a:ext>
            </a:extLst>
          </p:cNvPr>
          <p:cNvSpPr/>
          <p:nvPr/>
        </p:nvSpPr>
        <p:spPr>
          <a:xfrm>
            <a:off x="53790" y="863600"/>
            <a:ext cx="12138210" cy="5968965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121912" tIns="60956" rIns="121912" bIns="60956" rtlCol="0" anchor="ctr"/>
          <a:lstStyle/>
          <a:p>
            <a:pPr marL="0" marR="0" lvl="0" indent="0" algn="ctr" defTabSz="12191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Espace réservé du numéro de diapositive 3">
            <a:extLst>
              <a:ext uri="{FF2B5EF4-FFF2-40B4-BE49-F238E27FC236}">
                <a16:creationId xmlns:a16="http://schemas.microsoft.com/office/drawing/2014/main" xmlns="" id="{2E06670B-84D1-6E44-85F4-B754E4361B70}"/>
              </a:ext>
            </a:extLst>
          </p:cNvPr>
          <p:cNvSpPr txBox="1">
            <a:spLocks/>
          </p:cNvSpPr>
          <p:nvPr/>
        </p:nvSpPr>
        <p:spPr>
          <a:xfrm>
            <a:off x="11404837" y="6290888"/>
            <a:ext cx="685867" cy="365125"/>
          </a:xfrm>
          <a:prstGeom prst="rect">
            <a:avLst/>
          </a:prstGeom>
        </p:spPr>
        <p:txBody>
          <a:bodyPr vert="horz" lIns="121914" tIns="60957" rIns="121914" bIns="60957" rtlCol="0" anchor="ctr"/>
          <a:lstStyle>
            <a:defPPr>
              <a:defRPr lang="fr-FR"/>
            </a:defPPr>
            <a:lvl1pPr marL="0" algn="r" defTabSz="914400" rtl="0" eaLnBrk="1" latinLnBrk="0" hangingPunct="1">
              <a:defRPr sz="13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BC6585-F38B-41B2-AB3D-F869C80BC918}" type="slidenum">
              <a:rPr kumimoji="0" lang="fr-FR" sz="1300" b="1" i="0" u="none" strike="noStrike" kern="1200" cap="none" spc="0" normalizeH="0" baseline="0" noProof="0" smtClean="0">
                <a:ln>
                  <a:noFill/>
                </a:ln>
                <a:solidFill>
                  <a:srgbClr val="53677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r-FR" sz="1300" b="1" i="0" u="none" strike="noStrike" kern="1200" cap="none" spc="0" normalizeH="0" baseline="0" noProof="0" dirty="0">
              <a:ln>
                <a:noFill/>
              </a:ln>
              <a:solidFill>
                <a:srgbClr val="53677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Espace réservé du texte 5">
            <a:extLst>
              <a:ext uri="{FF2B5EF4-FFF2-40B4-BE49-F238E27FC236}">
                <a16:creationId xmlns:a16="http://schemas.microsoft.com/office/drawing/2014/main" xmlns="" id="{0EDC2848-A964-F247-B543-9704550E5E53}"/>
              </a:ext>
            </a:extLst>
          </p:cNvPr>
          <p:cNvSpPr txBox="1">
            <a:spLocks/>
          </p:cNvSpPr>
          <p:nvPr/>
        </p:nvSpPr>
        <p:spPr>
          <a:xfrm>
            <a:off x="917509" y="1120705"/>
            <a:ext cx="1910532" cy="384043"/>
          </a:xfrm>
          <a:prstGeom prst="rect">
            <a:avLst/>
          </a:prstGeom>
        </p:spPr>
        <p:txBody>
          <a:bodyPr lIns="121912" tIns="60956" rIns="121912" bIns="60956"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20000"/>
              <a:buFont typeface="Arial" panose="020B0604020202020204" pitchFamily="34" charset="0"/>
              <a:buChar char="•"/>
              <a:defRPr sz="18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65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1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37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09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6192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0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achat</a:t>
            </a:r>
            <a:r>
              <a:rPr kumimoji="0" lang="fr-FR" sz="1400" b="1" i="0" u="none" strike="noStrike" kern="1200" cap="none" spc="0" normalizeH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partiel</a:t>
            </a:r>
            <a:endParaRPr kumimoji="0" lang="fr-FR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2" name="Espace réservé pour une image  28">
            <a:extLst>
              <a:ext uri="{FF2B5EF4-FFF2-40B4-BE49-F238E27FC236}">
                <a16:creationId xmlns:a16="http://schemas.microsoft.com/office/drawing/2014/main" xmlns="" id="{6717323F-2DBD-3241-AEC1-80B515CCD0A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04"/>
          <a:stretch/>
        </p:blipFill>
        <p:spPr>
          <a:xfrm>
            <a:off x="1" y="1060720"/>
            <a:ext cx="844327" cy="612561"/>
          </a:xfrm>
          <a:prstGeom prst="rect">
            <a:avLst/>
          </a:prstGeom>
        </p:spPr>
      </p:pic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xmlns="" id="{0EDC2848-A964-F247-B543-9704550E5E53}"/>
              </a:ext>
            </a:extLst>
          </p:cNvPr>
          <p:cNvSpPr txBox="1">
            <a:spLocks/>
          </p:cNvSpPr>
          <p:nvPr/>
        </p:nvSpPr>
        <p:spPr>
          <a:xfrm>
            <a:off x="917509" y="3930948"/>
            <a:ext cx="1427532" cy="309871"/>
          </a:xfrm>
          <a:prstGeom prst="rect">
            <a:avLst/>
          </a:prstGeom>
        </p:spPr>
        <p:txBody>
          <a:bodyPr lIns="121912" tIns="60956" rIns="121912" bIns="60956"/>
          <a:lstStyle>
            <a:lvl1pPr marL="179388" indent="-179388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20000"/>
              <a:buFont typeface="Arial" panose="020B0604020202020204" pitchFamily="34" charset="0"/>
              <a:buChar char="•"/>
              <a:defRPr sz="1800" b="1" kern="1200">
                <a:solidFill>
                  <a:srgbClr val="53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65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1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37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509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6192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000" kern="1200">
                <a:solidFill>
                  <a:srgbClr val="9597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lang="fr-FR" sz="1400" dirty="0">
                <a:solidFill>
                  <a:srgbClr val="1F497D"/>
                </a:solidFill>
              </a:rPr>
              <a:t>Arbitrage</a:t>
            </a:r>
            <a:endParaRPr kumimoji="0" lang="fr-FR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BCAED17-F774-CA4C-BF69-F52BD96986A1}"/>
              </a:ext>
            </a:extLst>
          </p:cNvPr>
          <p:cNvSpPr/>
          <p:nvPr/>
        </p:nvSpPr>
        <p:spPr>
          <a:xfrm>
            <a:off x="10293068" y="2710001"/>
            <a:ext cx="1675051" cy="767717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lIns="121912" tIns="60956" rIns="121912" bIns="60956" rtlCol="0" anchor="ctr"/>
          <a:lstStyle/>
          <a:p>
            <a:pPr lvl="0" algn="ctr" defTabSz="1219110">
              <a:defRPr/>
            </a:pPr>
            <a:r>
              <a:rPr lang="fr-FR" sz="1100" kern="0" dirty="0">
                <a:solidFill>
                  <a:schemeClr val="bg1"/>
                </a:solidFill>
              </a:rPr>
              <a:t>T</a:t>
            </a:r>
            <a:r>
              <a:rPr lang="fr-FR" sz="1100" kern="0" dirty="0" smtClean="0">
                <a:solidFill>
                  <a:schemeClr val="bg1"/>
                </a:solidFill>
              </a:rPr>
              <a:t>endance en hausse, soit +25% d’actes vs M-1</a:t>
            </a:r>
            <a:endParaRPr lang="fr-FR" sz="1100" kern="0" dirty="0">
              <a:solidFill>
                <a:schemeClr val="bg1"/>
              </a:solidFill>
            </a:endParaRPr>
          </a:p>
        </p:txBody>
      </p:sp>
      <p:graphicFrame>
        <p:nvGraphicFramePr>
          <p:cNvPr id="15" name="Espace réservé du contenu 5">
            <a:extLst>
              <a:ext uri="{FF2B5EF4-FFF2-40B4-BE49-F238E27FC236}">
                <a16:creationId xmlns:a16="http://schemas.microsoft.com/office/drawing/2014/main" xmlns="" id="{8F741DD7-5B06-CA4D-94FE-8D1D720223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8553251"/>
              </p:ext>
            </p:extLst>
          </p:nvPr>
        </p:nvGraphicFramePr>
        <p:xfrm>
          <a:off x="149206" y="1120705"/>
          <a:ext cx="9990113" cy="2544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Graphique 17">
            <a:extLst>
              <a:ext uri="{FF2B5EF4-FFF2-40B4-BE49-F238E27FC236}">
                <a16:creationId xmlns:a16="http://schemas.microsoft.com/office/drawing/2014/main" xmlns="" id="{2E08C7CF-A32E-EB8D-87E1-054013F9C7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1780932"/>
              </p:ext>
            </p:extLst>
          </p:nvPr>
        </p:nvGraphicFramePr>
        <p:xfrm>
          <a:off x="149206" y="4276838"/>
          <a:ext cx="10333400" cy="2197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3" name="Rectangle à coins arrondis 62"/>
          <p:cNvSpPr/>
          <p:nvPr/>
        </p:nvSpPr>
        <p:spPr>
          <a:xfrm>
            <a:off x="6413145" y="1091641"/>
            <a:ext cx="744659" cy="381363"/>
          </a:xfrm>
          <a:prstGeom prst="wedgeRoundRectCallout">
            <a:avLst>
              <a:gd name="adj1" fmla="val 22700"/>
              <a:gd name="adj2" fmla="val 85383"/>
              <a:gd name="adj3" fmla="val 16667"/>
            </a:avLst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800" dirty="0"/>
              <a:t>MEP RP septembre 2021</a:t>
            </a:r>
          </a:p>
        </p:txBody>
      </p:sp>
      <p:graphicFrame>
        <p:nvGraphicFramePr>
          <p:cNvPr id="19" name="Tableau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8114630"/>
              </p:ext>
            </p:extLst>
          </p:nvPr>
        </p:nvGraphicFramePr>
        <p:xfrm>
          <a:off x="322290" y="3662750"/>
          <a:ext cx="949134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2304"/>
                <a:gridCol w="697583"/>
                <a:gridCol w="659877"/>
                <a:gridCol w="641022"/>
                <a:gridCol w="669303"/>
                <a:gridCol w="678730"/>
                <a:gridCol w="650450"/>
                <a:gridCol w="669303"/>
                <a:gridCol w="688157"/>
                <a:gridCol w="641022"/>
                <a:gridCol w="707011"/>
                <a:gridCol w="650449"/>
                <a:gridCol w="612742"/>
                <a:gridCol w="443391"/>
              </a:tblGrid>
              <a:tr h="135466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Montant moyen</a:t>
                      </a:r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par acte 2022 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Tableau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05003"/>
              </p:ext>
            </p:extLst>
          </p:nvPr>
        </p:nvGraphicFramePr>
        <p:xfrm>
          <a:off x="377073" y="6451345"/>
          <a:ext cx="9516871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8634"/>
                <a:gridCol w="686153"/>
                <a:gridCol w="575141"/>
                <a:gridCol w="664249"/>
                <a:gridCol w="674404"/>
                <a:gridCol w="682943"/>
                <a:gridCol w="665868"/>
                <a:gridCol w="682942"/>
                <a:gridCol w="682943"/>
                <a:gridCol w="674405"/>
                <a:gridCol w="665868"/>
                <a:gridCol w="691478"/>
                <a:gridCol w="674405"/>
                <a:gridCol w="417438"/>
              </a:tblGrid>
              <a:tr h="135466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Montant moyen</a:t>
                      </a:r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aseline="0" dirty="0" smtClean="0">
                          <a:solidFill>
                            <a:schemeClr val="tx2"/>
                          </a:solidFill>
                        </a:rPr>
                        <a:t>par acte 2023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b="0" dirty="0" smtClean="0">
                          <a:solidFill>
                            <a:schemeClr val="tx2"/>
                          </a:solidFill>
                        </a:rPr>
                        <a:t>10,4</a:t>
                      </a:r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Tableau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534149"/>
              </p:ext>
            </p:extLst>
          </p:nvPr>
        </p:nvGraphicFramePr>
        <p:xfrm>
          <a:off x="9378583" y="2695565"/>
          <a:ext cx="445655" cy="9671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5655"/>
              </a:tblGrid>
              <a:tr h="19343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Total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343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3170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343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475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343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13 177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3437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2 389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363793"/>
              </p:ext>
            </p:extLst>
          </p:nvPr>
        </p:nvGraphicFramePr>
        <p:xfrm>
          <a:off x="9469496" y="5493897"/>
          <a:ext cx="424449" cy="9574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4449"/>
              </a:tblGrid>
              <a:tr h="19149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Total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149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211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149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42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149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1831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9149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 smtClean="0">
                          <a:solidFill>
                            <a:schemeClr val="tx2"/>
                          </a:solidFill>
                        </a:rPr>
                        <a:t>436</a:t>
                      </a:r>
                      <a:endParaRPr lang="fr-FR" sz="90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20" name="Connecteur droit 19"/>
          <p:cNvCxnSpPr/>
          <p:nvPr/>
        </p:nvCxnSpPr>
        <p:spPr>
          <a:xfrm>
            <a:off x="9373537" y="3665631"/>
            <a:ext cx="44009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>
            <a:off x="9469496" y="6451347"/>
            <a:ext cx="4244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96" y="117079"/>
            <a:ext cx="7635875" cy="101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91434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parcours en vidéo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7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340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8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Tous les parcours en vidéos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2663094" y="1244886"/>
            <a:ext cx="5847363" cy="5233538"/>
            <a:chOff x="2663094" y="1244886"/>
            <a:chExt cx="5847363" cy="5233538"/>
          </a:xfrm>
        </p:grpSpPr>
        <p:sp>
          <p:nvSpPr>
            <p:cNvPr id="9" name="Rectangle 8"/>
            <p:cNvSpPr/>
            <p:nvPr/>
          </p:nvSpPr>
          <p:spPr>
            <a:xfrm>
              <a:off x="2896303" y="4216128"/>
              <a:ext cx="5614154" cy="22622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n>
                  <a:solidFill>
                    <a:srgbClr val="FFFFFF"/>
                  </a:solidFill>
                </a:ln>
                <a:noFill/>
              </a:endParaRPr>
            </a:p>
          </p:txBody>
        </p:sp>
        <p:pic>
          <p:nvPicPr>
            <p:cNvPr id="10" name="Picture 6" descr="Fichier:YouTube full-color icon (2017).svg — Wikipédia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8331" y="5831309"/>
              <a:ext cx="593890" cy="410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ZoneTexte 10"/>
            <p:cNvSpPr txBox="1"/>
            <p:nvPr/>
          </p:nvSpPr>
          <p:spPr>
            <a:xfrm>
              <a:off x="4407976" y="4620619"/>
              <a:ext cx="2881913" cy="335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smtClean="0"/>
                <a:t>La chaine du </a:t>
              </a:r>
              <a:r>
                <a:rPr lang="fr-FR" b="1" dirty="0" err="1" smtClean="0"/>
                <a:t>Selfcare</a:t>
              </a:r>
              <a:r>
                <a:rPr lang="fr-FR" b="1" dirty="0" smtClean="0"/>
                <a:t> GMF </a:t>
              </a:r>
              <a:endParaRPr lang="fr-FR" b="1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187407" y="5176238"/>
              <a:ext cx="5323050" cy="107721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fr-FR" sz="1600" b="1" u="sng" dirty="0" smtClean="0"/>
                <a:t>Copier/coller l’URL sur Chrome</a:t>
              </a:r>
              <a:endParaRPr lang="fr-FR" sz="1600" b="1" u="sng" dirty="0"/>
            </a:p>
            <a:p>
              <a:pPr algn="ctr"/>
              <a:r>
                <a:rPr lang="fr-FR" sz="1600" dirty="0">
                  <a:hlinkClick r:id="rId3"/>
                </a:rPr>
                <a:t>https://</a:t>
              </a:r>
              <a:r>
                <a:rPr lang="fr-FR" sz="1600" dirty="0" smtClean="0">
                  <a:hlinkClick r:id="rId3"/>
                </a:rPr>
                <a:t>www.youtube.com/playlist?list=PLRwA_b6MBHv3SmaH-sep9xABnoBnwp9Ap</a:t>
              </a:r>
              <a:endParaRPr lang="fr-FR" sz="1600" dirty="0" smtClean="0"/>
            </a:p>
            <a:p>
              <a:pPr algn="ctr"/>
              <a:endParaRPr lang="fr-FR" sz="1600" dirty="0"/>
            </a:p>
          </p:txBody>
        </p:sp>
        <p:pic>
          <p:nvPicPr>
            <p:cNvPr id="13" name="Picture 7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20" t="21389" r="67630" b="27384"/>
            <a:stretch/>
          </p:blipFill>
          <p:spPr bwMode="auto">
            <a:xfrm>
              <a:off x="2895989" y="1244886"/>
              <a:ext cx="5609836" cy="2782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Étoile à 5 branches 13"/>
            <p:cNvSpPr/>
            <p:nvPr/>
          </p:nvSpPr>
          <p:spPr>
            <a:xfrm>
              <a:off x="3259394" y="4410400"/>
              <a:ext cx="406400" cy="363675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ZoneTexte 14"/>
            <p:cNvSpPr txBox="1"/>
            <p:nvPr/>
          </p:nvSpPr>
          <p:spPr>
            <a:xfrm rot="21203805">
              <a:off x="2663094" y="4784403"/>
              <a:ext cx="17145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 smtClean="0"/>
                <a:t>Enrichissez </a:t>
              </a:r>
              <a:br>
                <a:rPr lang="fr-FR" sz="1200" b="1" dirty="0" smtClean="0"/>
              </a:br>
              <a:r>
                <a:rPr lang="fr-FR" sz="1200" b="1" dirty="0" smtClean="0"/>
                <a:t>vos  favoris ! </a:t>
              </a:r>
              <a:endParaRPr lang="fr-FR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930497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19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Votre interlocutrice </a:t>
            </a:r>
            <a:r>
              <a:rPr lang="fr-FR" sz="2400" dirty="0" err="1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Selfcare</a:t>
            </a:r>
            <a:r>
              <a:rPr lang="fr-FR" sz="2400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 - Parcours Vie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707083" y="1992105"/>
            <a:ext cx="3482976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800" b="1" dirty="0" smtClean="0">
                <a:solidFill>
                  <a:schemeClr val="accent6"/>
                </a:solidFill>
              </a:rPr>
              <a:t>Eliza Marquez </a:t>
            </a:r>
            <a:r>
              <a:rPr lang="fr-FR" sz="2800" b="1" dirty="0" err="1" smtClean="0">
                <a:solidFill>
                  <a:schemeClr val="accent6"/>
                </a:solidFill>
              </a:rPr>
              <a:t>Garrido</a:t>
            </a:r>
            <a:endParaRPr lang="fr-FR" sz="2800" b="1" dirty="0" smtClean="0">
              <a:solidFill>
                <a:schemeClr val="accent6"/>
              </a:solidFill>
            </a:endParaRPr>
          </a:p>
          <a:p>
            <a:r>
              <a:rPr lang="fr-FR" b="1" dirty="0" smtClean="0"/>
              <a:t>Change </a:t>
            </a:r>
            <a:r>
              <a:rPr lang="fr-FR" b="1" dirty="0" err="1"/>
              <a:t>S</a:t>
            </a:r>
            <a:r>
              <a:rPr lang="fr-FR" b="1" dirty="0" err="1" smtClean="0"/>
              <a:t>elfcare</a:t>
            </a:r>
            <a:r>
              <a:rPr lang="fr-FR" b="1" dirty="0" smtClean="0"/>
              <a:t> – Parcours Vie </a:t>
            </a:r>
          </a:p>
          <a:p>
            <a:r>
              <a:rPr lang="fr-FR" b="1" dirty="0" smtClean="0">
                <a:hlinkClick r:id="rId2"/>
              </a:rPr>
              <a:t>eliza.marquez-garrido@gmf.fr</a:t>
            </a:r>
            <a:endParaRPr lang="fr-FR" b="1" dirty="0" smtClean="0"/>
          </a:p>
          <a:p>
            <a:endParaRPr lang="fr-FR" b="1" dirty="0"/>
          </a:p>
        </p:txBody>
      </p:sp>
      <p:pic>
        <p:nvPicPr>
          <p:cNvPr id="19" name="Picture 2" descr="D:\Utilisateurs\A71874\Documents\04_IMAGES\Photos\EM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033" y="1976971"/>
            <a:ext cx="1085850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125" y="1036638"/>
            <a:ext cx="5097463" cy="509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9517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762090" y="1833562"/>
            <a:ext cx="7400835" cy="5857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fr-FR" sz="3200" dirty="0"/>
              <a:t>Ce document a pour objectif de vous présenter le périmètre fonctionnel </a:t>
            </a:r>
            <a:r>
              <a:rPr lang="fr-FR" sz="3200" dirty="0" err="1"/>
              <a:t>Selfcare</a:t>
            </a:r>
            <a:r>
              <a:rPr lang="fr-FR" sz="3200" dirty="0"/>
              <a:t> mis en production.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865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nnex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0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4667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1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Organisation</a:t>
            </a:r>
            <a:endParaRPr lang="fr-FR" sz="2400" dirty="0">
              <a:solidFill>
                <a:schemeClr val="accent1"/>
              </a:solidFill>
              <a:latin typeface="Segoe UI" panose="020B0502040204020203" pitchFamily="34" charset="0"/>
              <a:ea typeface="+mj-ea"/>
              <a:cs typeface="+mj-cs"/>
            </a:endParaRPr>
          </a:p>
        </p:txBody>
      </p:sp>
      <p:pic>
        <p:nvPicPr>
          <p:cNvPr id="9218" name="Picture 2" descr="C:\Users\A71874\Desktop\orga_selfcare-2048x101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575" y="1177253"/>
            <a:ext cx="9086850" cy="4503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8117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2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Périmètre – </a:t>
            </a:r>
            <a:r>
              <a:rPr lang="fr-FR" sz="2400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Détail commun MMA/GMF</a:t>
            </a:r>
          </a:p>
        </p:txBody>
      </p:sp>
      <p:graphicFrame>
        <p:nvGraphicFramePr>
          <p:cNvPr id="9" name="Tableau 8">
            <a:extLst>
              <a:ext uri="{FF2B5EF4-FFF2-40B4-BE49-F238E27FC236}">
                <a16:creationId xmlns="" xmlns:a16="http://schemas.microsoft.com/office/drawing/2014/main" id="{0B857240-2C1B-C345-80D0-9DB3565C7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383357"/>
              </p:ext>
            </p:extLst>
          </p:nvPr>
        </p:nvGraphicFramePr>
        <p:xfrm>
          <a:off x="160467" y="1642448"/>
          <a:ext cx="11649460" cy="67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6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94805">
                  <a:extLst>
                    <a:ext uri="{9D8B030D-6E8A-4147-A177-3AD203B41FA5}">
                      <a16:colId xmlns="" xmlns:a16="http://schemas.microsoft.com/office/drawing/2014/main" val="69073868"/>
                    </a:ext>
                  </a:extLst>
                </a:gridCol>
                <a:gridCol w="7684018">
                  <a:extLst>
                    <a:ext uri="{9D8B030D-6E8A-4147-A177-3AD203B41FA5}">
                      <a16:colId xmlns="" xmlns:a16="http://schemas.microsoft.com/office/drawing/2014/main" val="17338711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sz="1600" dirty="0"/>
                        <a:t>Mar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Parco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Description</a:t>
                      </a:r>
                      <a:endParaRPr lang="fr-FR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91049614"/>
                  </a:ext>
                </a:extLst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mulateur</a:t>
                      </a:r>
                      <a:endParaRPr lang="fr-FR" sz="16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marR="0" indent="-22860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ouveau</a:t>
                      </a:r>
                      <a:r>
                        <a:rPr lang="fr-F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simulateur Epargne Harvest</a:t>
                      </a:r>
                      <a:endParaRPr lang="fr-F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/>
                </a:tc>
              </a:tr>
            </a:tbl>
          </a:graphicData>
        </a:graphic>
      </p:graphicFrame>
      <p:sp>
        <p:nvSpPr>
          <p:cNvPr id="10" name="ZoneTexte 9"/>
          <p:cNvSpPr txBox="1"/>
          <p:nvPr/>
        </p:nvSpPr>
        <p:spPr>
          <a:xfrm>
            <a:off x="9259910" y="5464345"/>
            <a:ext cx="26502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 smtClean="0"/>
              <a:t>En gras </a:t>
            </a:r>
            <a:r>
              <a:rPr lang="fr-FR" sz="1400" dirty="0" smtClean="0"/>
              <a:t>le contenu de la version</a:t>
            </a:r>
          </a:p>
          <a:p>
            <a:r>
              <a:rPr lang="fr-FR" sz="1400" dirty="0" smtClean="0"/>
              <a:t>Non gras </a:t>
            </a:r>
            <a:r>
              <a:rPr lang="fr-FR" sz="1400" dirty="0"/>
              <a:t>é</a:t>
            </a:r>
            <a:r>
              <a:rPr lang="fr-FR" sz="1400" dirty="0" smtClean="0"/>
              <a:t>volutions ou anomalies</a:t>
            </a:r>
            <a:endParaRPr lang="fr-FR" sz="1400" dirty="0"/>
          </a:p>
        </p:txBody>
      </p:sp>
      <p:sp>
        <p:nvSpPr>
          <p:cNvPr id="11" name="ZoneTexte 10"/>
          <p:cNvSpPr txBox="1"/>
          <p:nvPr/>
        </p:nvSpPr>
        <p:spPr>
          <a:xfrm>
            <a:off x="231818" y="1200201"/>
            <a:ext cx="242669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dirty="0" smtClean="0"/>
              <a:t>Scope de la version</a:t>
            </a:r>
            <a:endParaRPr lang="fr-FR" dirty="0"/>
          </a:p>
        </p:txBody>
      </p:sp>
      <p:sp>
        <p:nvSpPr>
          <p:cNvPr id="12" name="ZoneTexte 11"/>
          <p:cNvSpPr txBox="1"/>
          <p:nvPr/>
        </p:nvSpPr>
        <p:spPr>
          <a:xfrm>
            <a:off x="131360" y="2553966"/>
            <a:ext cx="297382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dirty="0" smtClean="0"/>
              <a:t>Evolutions et corrections</a:t>
            </a:r>
            <a:endParaRPr lang="fr-FR" dirty="0"/>
          </a:p>
        </p:txBody>
      </p:sp>
      <p:graphicFrame>
        <p:nvGraphicFramePr>
          <p:cNvPr id="13" name="Tableau 12">
            <a:extLst>
              <a:ext uri="{FF2B5EF4-FFF2-40B4-BE49-F238E27FC236}">
                <a16:creationId xmlns="" xmlns:a16="http://schemas.microsoft.com/office/drawing/2014/main" id="{0B857240-2C1B-C345-80D0-9DB3565C7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737258"/>
              </p:ext>
            </p:extLst>
          </p:nvPr>
        </p:nvGraphicFramePr>
        <p:xfrm>
          <a:off x="231818" y="3229125"/>
          <a:ext cx="11649460" cy="2758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6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94805">
                  <a:extLst>
                    <a:ext uri="{9D8B030D-6E8A-4147-A177-3AD203B41FA5}">
                      <a16:colId xmlns="" xmlns:a16="http://schemas.microsoft.com/office/drawing/2014/main" val="69073868"/>
                    </a:ext>
                  </a:extLst>
                </a:gridCol>
                <a:gridCol w="7684018">
                  <a:extLst>
                    <a:ext uri="{9D8B030D-6E8A-4147-A177-3AD203B41FA5}">
                      <a16:colId xmlns="" xmlns:a16="http://schemas.microsoft.com/office/drawing/2014/main" val="17338711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sz="1600" dirty="0"/>
                        <a:t>Mar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Parco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Description</a:t>
                      </a:r>
                      <a:endParaRPr lang="fr-FR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91049614"/>
                  </a:ext>
                </a:extLst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/GMF</a:t>
                      </a:r>
                      <a:endParaRPr lang="fr-FR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Ajout de compte bancair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indent="-17145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E - Ajout de compte bancaire - Si abandon, retour sur Saisie de RIB</a:t>
                      </a: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tx1"/>
                          </a:solidFill>
                          <a:latin typeface="+mn-lt"/>
                        </a:rPr>
                        <a:t>MMA/GM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Arbitrag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indent="-17145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us parcours - Récapitulatif de projet - Harmonisation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="" xmlns:a16="http://schemas.microsoft.com/office/drawing/2014/main" val="3843236090"/>
                  </a:ext>
                </a:extLst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Mode découvert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ode découverte - Corriger l'ordre des éléments dans la </a:t>
                      </a:r>
                      <a:r>
                        <a:rPr lang="fr-F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ynthèse</a:t>
                      </a: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Pilotag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volution Plan de </a:t>
                      </a:r>
                      <a:r>
                        <a:rPr lang="fr-FR" sz="12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tracking</a:t>
                      </a:r>
                      <a:endParaRPr lang="fr-FR" sz="12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="" xmlns:a16="http://schemas.microsoft.com/office/drawing/2014/main" val="10894004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S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 -Abandon - Texte non conforme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Transvers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ous parcours - Répartitions - Uniformiser les rubriques Euros, UC, Packs</a:t>
                      </a:r>
                    </a:p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P, arbitrage - Harmonisation de la pop-in SAF</a:t>
                      </a: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/GMF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U/VA</a:t>
                      </a:r>
                      <a:endParaRPr lang="fr-F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marR="0" indent="-22860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ous parcours - Récapitulatif de projet - Police du conseil</a:t>
                      </a:r>
                    </a:p>
                    <a:p>
                      <a:pPr marL="228600" marR="0" indent="-22860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jout de compte bancaire - MAJ Texte d'introduction</a:t>
                      </a:r>
                    </a:p>
                  </a:txBody>
                  <a:tcPr marL="7620" marR="7620" marT="762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63658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3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>
                <a:solidFill>
                  <a:srgbClr val="5B6971"/>
                </a:solidFill>
              </a:rPr>
              <a:t>Révélation PAC 2022 - DAV / DCMO / DRV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Périmètre – </a:t>
            </a:r>
            <a:r>
              <a:rPr lang="fr-FR" sz="2400" dirty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Détail </a:t>
            </a:r>
            <a:r>
              <a:rPr lang="fr-FR" sz="2400" dirty="0" smtClean="0">
                <a:solidFill>
                  <a:schemeClr val="accent1"/>
                </a:solidFill>
                <a:latin typeface="Segoe UI" panose="020B0502040204020203" pitchFamily="34" charset="0"/>
                <a:ea typeface="+mj-ea"/>
                <a:cs typeface="+mj-cs"/>
              </a:rPr>
              <a:t>MMA</a:t>
            </a:r>
            <a:endParaRPr lang="fr-FR" sz="2400" dirty="0">
              <a:solidFill>
                <a:schemeClr val="accent1"/>
              </a:solidFill>
              <a:latin typeface="Segoe UI" panose="020B0502040204020203" pitchFamily="34" charset="0"/>
              <a:ea typeface="+mj-ea"/>
              <a:cs typeface="+mj-cs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="" xmlns:a16="http://schemas.microsoft.com/office/drawing/2014/main" id="{0B857240-2C1B-C345-80D0-9DB3565C7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806065"/>
              </p:ext>
            </p:extLst>
          </p:nvPr>
        </p:nvGraphicFramePr>
        <p:xfrm>
          <a:off x="263350" y="3225445"/>
          <a:ext cx="11531823" cy="3144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20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33092">
                  <a:extLst>
                    <a:ext uri="{9D8B030D-6E8A-4147-A177-3AD203B41FA5}">
                      <a16:colId xmlns="" xmlns:a16="http://schemas.microsoft.com/office/drawing/2014/main" val="69073868"/>
                    </a:ext>
                  </a:extLst>
                </a:gridCol>
                <a:gridCol w="8266670">
                  <a:extLst>
                    <a:ext uri="{9D8B030D-6E8A-4147-A177-3AD203B41FA5}">
                      <a16:colId xmlns="" xmlns:a16="http://schemas.microsoft.com/office/drawing/2014/main" val="1733871134"/>
                    </a:ext>
                  </a:extLst>
                </a:gridCol>
              </a:tblGrid>
              <a:tr h="393216">
                <a:tc>
                  <a:txBody>
                    <a:bodyPr/>
                    <a:lstStyle/>
                    <a:p>
                      <a:r>
                        <a:rPr lang="fr-FR" sz="1800" dirty="0"/>
                        <a:t>Mar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800" dirty="0"/>
                        <a:t>Parco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800" dirty="0"/>
                        <a:t>Descrip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91049614"/>
                  </a:ext>
                </a:extLst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b="0" dirty="0" smtClean="0"/>
                        <a:t>Ajout de compte bancaire</a:t>
                      </a:r>
                      <a:endParaRPr lang="fr-FR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indent="-17145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at et Moyens de paiement - Boutons mal placés</a:t>
                      </a: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Arbitrag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SELFCAREVI-940 ] Ne pas proposer le lien d'une opération non éligible</a:t>
                      </a:r>
                    </a:p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SELCAREVI-966]</a:t>
                      </a:r>
                      <a:r>
                        <a:rPr lang="fr-FR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MA suppression </a:t>
                      </a:r>
                      <a:r>
                        <a:rPr lang="fr-FR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pin</a:t>
                      </a: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rbitrage</a:t>
                      </a: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</a:t>
                      </a:r>
                      <a:endParaRPr lang="fr-FR" sz="1200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Consultation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 - Réorganisation de la page de sélection de compartiment</a:t>
                      </a:r>
                      <a:endParaRPr lang="fr-F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</a:t>
                      </a:r>
                      <a:endParaRPr lang="fr-FR" sz="1200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Synthèse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ynthèse - Conditionner le message Opération en cours</a:t>
                      </a:r>
                      <a:endParaRPr lang="fr-FR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Inéligibilité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port </a:t>
                      </a:r>
                      <a:r>
                        <a:rPr lang="fr-FR" sz="16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ersipierre</a:t>
                      </a: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Blocage en </a:t>
                      </a:r>
                      <a:r>
                        <a:rPr lang="fr-FR" sz="16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fcare</a:t>
                      </a: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Tous actes)</a:t>
                      </a:r>
                      <a:endParaRPr lang="fr-FR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</a:t>
                      </a:r>
                      <a:endParaRPr lang="fr-FR" sz="1200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err="1" smtClean="0"/>
                        <a:t>Tracking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us parcours - PER - MAJ </a:t>
                      </a:r>
                      <a:r>
                        <a:rPr lang="fr-FR" sz="16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cking</a:t>
                      </a: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sélection des compartiments</a:t>
                      </a:r>
                      <a:endParaRPr lang="fr-FR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</a:tr>
              <a:tr h="297095">
                <a:tc>
                  <a:txBody>
                    <a:bodyPr/>
                    <a:lstStyle/>
                    <a:p>
                      <a:r>
                        <a:rPr lang="fr-FR" sz="12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MA</a:t>
                      </a:r>
                      <a:endParaRPr lang="fr-FR" sz="1200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dirty="0" smtClean="0"/>
                        <a:t>VU</a:t>
                      </a:r>
                      <a:endParaRPr lang="fr-FR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FCAREVI-1202 - Bloc Notre analyse - Mot manquant</a:t>
                      </a:r>
                      <a:endParaRPr lang="fr-FR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/>
                </a:tc>
              </a:tr>
            </a:tbl>
          </a:graphicData>
        </a:graphic>
      </p:graphicFrame>
      <p:sp>
        <p:nvSpPr>
          <p:cNvPr id="13" name="ZoneTexte 12"/>
          <p:cNvSpPr txBox="1"/>
          <p:nvPr/>
        </p:nvSpPr>
        <p:spPr>
          <a:xfrm>
            <a:off x="332276" y="1345065"/>
            <a:ext cx="2426690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dirty="0" smtClean="0"/>
              <a:t>Scope de la version</a:t>
            </a:r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231818" y="2698830"/>
            <a:ext cx="2973827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fr-FR" dirty="0" smtClean="0"/>
              <a:t>Evolutions et corrections</a:t>
            </a:r>
            <a:endParaRPr lang="fr-FR" dirty="0"/>
          </a:p>
        </p:txBody>
      </p:sp>
      <p:graphicFrame>
        <p:nvGraphicFramePr>
          <p:cNvPr id="15" name="Tableau 14">
            <a:extLst>
              <a:ext uri="{FF2B5EF4-FFF2-40B4-BE49-F238E27FC236}">
                <a16:creationId xmlns="" xmlns:a16="http://schemas.microsoft.com/office/drawing/2014/main" id="{0B857240-2C1B-C345-80D0-9DB3565C7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832237"/>
              </p:ext>
            </p:extLst>
          </p:nvPr>
        </p:nvGraphicFramePr>
        <p:xfrm>
          <a:off x="231818" y="1729786"/>
          <a:ext cx="11531823" cy="728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20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33092">
                  <a:extLst>
                    <a:ext uri="{9D8B030D-6E8A-4147-A177-3AD203B41FA5}">
                      <a16:colId xmlns="" xmlns:a16="http://schemas.microsoft.com/office/drawing/2014/main" val="69073868"/>
                    </a:ext>
                  </a:extLst>
                </a:gridCol>
                <a:gridCol w="8266670">
                  <a:extLst>
                    <a:ext uri="{9D8B030D-6E8A-4147-A177-3AD203B41FA5}">
                      <a16:colId xmlns="" xmlns:a16="http://schemas.microsoft.com/office/drawing/2014/main" val="1733871134"/>
                    </a:ext>
                  </a:extLst>
                </a:gridCol>
              </a:tblGrid>
              <a:tr h="393216">
                <a:tc>
                  <a:txBody>
                    <a:bodyPr/>
                    <a:lstStyle/>
                    <a:p>
                      <a:r>
                        <a:rPr lang="fr-FR" sz="1800" dirty="0"/>
                        <a:t>Mar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800" dirty="0"/>
                        <a:t>Parco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800" dirty="0"/>
                        <a:t>Descrip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91049614"/>
                  </a:ext>
                </a:extLst>
              </a:tr>
              <a:tr h="297095">
                <a:tc>
                  <a:txBody>
                    <a:bodyPr/>
                    <a:lstStyle/>
                    <a:p>
                      <a:pPr marL="0" marR="0" lvl="0" indent="0" algn="l" defTabSz="1218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MA</a:t>
                      </a: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1600" b="0" dirty="0" smtClean="0"/>
                        <a:t>Simulateur</a:t>
                      </a:r>
                      <a:endParaRPr lang="fr-FR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indent="-171450" algn="l" defTabSz="1218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uveau simulateur prévoyance Harvest</a:t>
                      </a:r>
                    </a:p>
                  </a:txBody>
                  <a:tcPr marL="7620" marR="7620" marT="762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04559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85918" y="2843214"/>
            <a:ext cx="5857781" cy="585788"/>
          </a:xfrm>
        </p:spPr>
        <p:txBody>
          <a:bodyPr/>
          <a:lstStyle/>
          <a:p>
            <a:r>
              <a:rPr lang="fr-FR" dirty="0"/>
              <a:t>Rappel </a:t>
            </a:r>
            <a:r>
              <a:rPr lang="fr-FR" dirty="0" smtClean="0"/>
              <a:t>du détail </a:t>
            </a:r>
            <a:r>
              <a:rPr lang="fr-FR" dirty="0"/>
              <a:t>des fonctionnalités mises en </a:t>
            </a:r>
            <a:r>
              <a:rPr lang="fr-FR" dirty="0" smtClean="0"/>
              <a:t>production depuis le lancement du projet</a:t>
            </a:r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4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0981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5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71431" y="320921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</a:rPr>
              <a:t>Fonctionnalités mises en production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385974" y="1782206"/>
            <a:ext cx="11081562" cy="3672718"/>
            <a:chOff x="385974" y="1782206"/>
            <a:chExt cx="11081562" cy="3672718"/>
          </a:xfrm>
        </p:grpSpPr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xmlns="" id="{F6A682A0-452D-4CA2-B7D2-205661F264B4}"/>
                </a:ext>
              </a:extLst>
            </p:cNvPr>
            <p:cNvSpPr txBox="1"/>
            <p:nvPr/>
          </p:nvSpPr>
          <p:spPr>
            <a:xfrm>
              <a:off x="7965797" y="1782206"/>
              <a:ext cx="3501739" cy="3672718"/>
            </a:xfrm>
            <a:prstGeom prst="rect">
              <a:avLst/>
            </a:prstGeom>
            <a:noFill/>
          </p:spPr>
          <p:txBody>
            <a:bodyPr wrap="square" lIns="162479" tIns="81239" rIns="162479" bIns="81239" rtlCol="0">
              <a:spAutoFit/>
            </a:bodyPr>
            <a:lstStyle/>
            <a:p>
              <a:pPr defTabSz="1625198">
                <a:defRPr/>
              </a:pPr>
              <a:r>
                <a:rPr lang="fr-FR" sz="1200" b="1" kern="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achat </a:t>
              </a:r>
              <a:r>
                <a:rPr lang="fr-FR" sz="1200" b="1" kern="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Partiel</a:t>
              </a:r>
            </a:p>
            <a:p>
              <a:pPr defTabSz="1625198">
                <a:defRPr/>
              </a:pPr>
              <a:endPara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err="1">
                  <a:ea typeface="Segoe UI Historic" panose="020B0502040204020203" pitchFamily="34" charset="0"/>
                  <a:cs typeface="Segoe UI Historic" panose="020B0502040204020203" pitchFamily="34" charset="0"/>
                </a:rPr>
                <a:t>Multisupport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 (MULTEO, CERTIGO)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kern="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Maximum 20 000€ par opération ;</a:t>
              </a:r>
              <a:endPara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épartition proportionnelle ou libre ;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Compte bancaire connu / Chèque ;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uthentification via Code OTP ;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elevé d’opération envoyé par courrier au sociétaire. </a:t>
              </a:r>
            </a:p>
            <a:p>
              <a:pPr defTabSz="913040">
                <a:defRPr/>
              </a:pPr>
              <a:endPara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040">
                <a:defRPr/>
              </a:pPr>
              <a:endPara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040">
                <a:defRPr/>
              </a:pPr>
              <a:r>
                <a:rPr lang="fr-FR" sz="1200" b="1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Module </a:t>
              </a:r>
              <a:r>
                <a:rPr lang="fr-FR" sz="1200" b="1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offre</a:t>
              </a:r>
            </a:p>
            <a:p>
              <a:pPr defTabSz="913040">
                <a:defRPr/>
              </a:pPr>
              <a:endParaRPr lang="fr-FR" sz="1200" b="1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Solution Contrôle Offres FO (VU/ VA) &gt; mise en avant des offres promotionnelles auxquelles l’utilisateur est éligible selon la répartition €/UC sélectionnée.</a:t>
              </a:r>
            </a:p>
            <a:p>
              <a:pPr defTabSz="1625038">
                <a:defRPr/>
              </a:pPr>
              <a:endPara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1625038">
                <a:defRPr/>
              </a:pPr>
              <a:endPara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xmlns="" id="{FB659BD4-9249-4719-8107-D8A012FDE2A3}"/>
                </a:ext>
              </a:extLst>
            </p:cNvPr>
            <p:cNvSpPr txBox="1"/>
            <p:nvPr/>
          </p:nvSpPr>
          <p:spPr>
            <a:xfrm>
              <a:off x="385974" y="1782206"/>
              <a:ext cx="3440052" cy="2010744"/>
            </a:xfrm>
            <a:prstGeom prst="rect">
              <a:avLst/>
            </a:prstGeom>
            <a:noFill/>
          </p:spPr>
          <p:txBody>
            <a:bodyPr wrap="square" lIns="162499" tIns="81249" rIns="162499" bIns="81249" rtlCol="0">
              <a:spAutoFit/>
            </a:bodyPr>
            <a:lstStyle/>
            <a:p>
              <a:pPr defTabSz="1625198">
                <a:defRPr/>
              </a:pPr>
              <a:r>
                <a:rPr lang="fr-FR" sz="1200" b="1" kern="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Versement </a:t>
              </a:r>
              <a:r>
                <a:rPr lang="fr-FR" sz="1200" b="1" kern="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Ponctuel</a:t>
              </a:r>
            </a:p>
            <a:p>
              <a:pPr defTabSz="1625198">
                <a:defRPr/>
              </a:pPr>
              <a:endPara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err="1">
                  <a:ea typeface="Segoe UI Historic" panose="020B0502040204020203" pitchFamily="34" charset="0"/>
                  <a:cs typeface="Segoe UI Historic" panose="020B0502040204020203" pitchFamily="34" charset="0"/>
                </a:rPr>
                <a:t>Multisupport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 (MULTEO, CERTIGO)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DDC 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à partir de 5K€ + code OTP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épartition libre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UC + code OTP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Paiement </a:t>
              </a:r>
              <a:endParaRPr lang="fr-FR" sz="1200" dirty="0" smtClean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742831" lvl="1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IB 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connu</a:t>
              </a:r>
            </a:p>
            <a:p>
              <a:pPr marL="742831" lvl="1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d’un </a:t>
              </a: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IB</a:t>
              </a:r>
            </a:p>
            <a:p>
              <a:pPr marL="742831" lvl="1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Carte 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bancaire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xmlns="" id="{F6A682A0-452D-4CA2-B7D2-205661F264B4}"/>
                </a:ext>
              </a:extLst>
            </p:cNvPr>
            <p:cNvSpPr txBox="1"/>
            <p:nvPr/>
          </p:nvSpPr>
          <p:spPr>
            <a:xfrm>
              <a:off x="4121937" y="1819977"/>
              <a:ext cx="3621888" cy="3118720"/>
            </a:xfrm>
            <a:prstGeom prst="rect">
              <a:avLst/>
            </a:prstGeom>
            <a:noFill/>
          </p:spPr>
          <p:txBody>
            <a:bodyPr wrap="square" lIns="162479" tIns="81239" rIns="162479" bIns="81239" rtlCol="0">
              <a:spAutoFit/>
            </a:bodyPr>
            <a:lstStyle/>
            <a:p>
              <a:pPr defTabSz="1625198">
                <a:defRPr/>
              </a:pPr>
              <a:r>
                <a:rPr lang="fr-FR" sz="1200" b="1" kern="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Versement </a:t>
              </a:r>
              <a:r>
                <a:rPr lang="fr-FR" sz="1200" b="1" kern="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égulier</a:t>
              </a:r>
            </a:p>
            <a:p>
              <a:pPr defTabSz="1625198">
                <a:defRPr/>
              </a:pPr>
              <a:endPara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err="1">
                  <a:ea typeface="Segoe UI Historic" panose="020B0502040204020203" pitchFamily="34" charset="0"/>
                  <a:cs typeface="Segoe UI Historic" panose="020B0502040204020203" pitchFamily="34" charset="0"/>
                </a:rPr>
                <a:t>Multisupport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 (MULTEO, CERTIGO)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DDC 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à partir de 7,5K€ sur 1 an + code OTP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épartition libre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UC + code OTP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Paiement </a:t>
              </a:r>
              <a:endParaRPr lang="fr-FR" sz="1200" dirty="0" smtClean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742831" lvl="1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RIB </a:t>
              </a: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connu</a:t>
              </a:r>
            </a:p>
            <a:p>
              <a:pPr marL="742831" lvl="1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d’un RIB</a:t>
              </a: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Arrêt </a:t>
              </a:r>
              <a:r>
                <a:rPr lang="fr-FR" sz="1200" dirty="0" smtClean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et modification de VR pour ceux mis en place en ligne</a:t>
              </a:r>
              <a:endPara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040">
                <a:defRPr/>
              </a:pPr>
              <a:endPara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040">
                <a:defRPr/>
              </a:pPr>
              <a:r>
                <a:rPr lang="fr-FR" sz="1200" b="1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Module offre </a:t>
              </a:r>
              <a:endParaRPr lang="fr-FR" sz="1200" b="1" dirty="0" smtClean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040">
                <a:defRPr/>
              </a:pPr>
              <a:endParaRPr lang="fr-FR" sz="1200" b="1" dirty="0"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24" indent="-285724" defTabSz="913040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ea typeface="Segoe UI Historic" panose="020B0502040204020203" pitchFamily="34" charset="0"/>
                  <a:cs typeface="Segoe UI Historic" panose="020B0502040204020203" pitchFamily="34" charset="0"/>
                </a:rPr>
                <a:t>Mise en avant des offres promotionnelles en cours.</a:t>
              </a:r>
            </a:p>
          </p:txBody>
        </p:sp>
      </p:grpSp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E564DA53-08F1-4B53-8B0D-643204E59E04}"/>
              </a:ext>
            </a:extLst>
          </p:cNvPr>
          <p:cNvSpPr txBox="1"/>
          <p:nvPr/>
        </p:nvSpPr>
        <p:spPr>
          <a:xfrm>
            <a:off x="740082" y="1200559"/>
            <a:ext cx="3341564" cy="384717"/>
          </a:xfrm>
          <a:prstGeom prst="rect">
            <a:avLst/>
          </a:prstGeom>
          <a:noFill/>
        </p:spPr>
        <p:txBody>
          <a:bodyPr wrap="square" lIns="91424" tIns="45718" rIns="91424" bIns="45718" rtlCol="0">
            <a:spAutoFit/>
          </a:bodyPr>
          <a:lstStyle/>
          <a:p>
            <a:pPr defTabSz="1218930">
              <a:defRPr/>
            </a:pPr>
            <a:r>
              <a:rPr lang="fr-FR" b="1" kern="0" dirty="0" smtClean="0">
                <a:solidFill>
                  <a:srgbClr val="1F44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21 </a:t>
            </a:r>
            <a:r>
              <a:rPr lang="fr-FR" b="1" kern="0" dirty="0">
                <a:solidFill>
                  <a:srgbClr val="1F44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mars 2021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291902" y="1026547"/>
            <a:ext cx="11353999" cy="789000"/>
            <a:chOff x="263327" y="969397"/>
            <a:chExt cx="11353999" cy="789000"/>
          </a:xfrm>
        </p:grpSpPr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xmlns="" id="{78B9394F-732F-431B-9DC4-D36F4BAE123D}"/>
                </a:ext>
              </a:extLst>
            </p:cNvPr>
            <p:cNvSpPr txBox="1"/>
            <p:nvPr/>
          </p:nvSpPr>
          <p:spPr>
            <a:xfrm>
              <a:off x="8080633" y="1136662"/>
              <a:ext cx="3536693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 smtClean="0">
                  <a:solidFill>
                    <a:schemeClr val="accent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5-26 septembre 2021</a:t>
              </a:r>
              <a:endParaRPr lang="fr-FR" b="1" kern="0" dirty="0">
                <a:solidFill>
                  <a:schemeClr val="accent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pic>
          <p:nvPicPr>
            <p:cNvPr id="18" name="Picture 2" descr="C:\Users\s016201\AppData\Local\Microsoft\Windows\Temporary Internet Files\Content.IE5\DZ2KR7D4\120px-Checkered_flags-fr.svg[1].png">
              <a:extLst>
                <a:ext uri="{FF2B5EF4-FFF2-40B4-BE49-F238E27FC236}">
                  <a16:creationId xmlns:a16="http://schemas.microsoft.com/office/drawing/2014/main" xmlns="" id="{9515755A-872E-4550-92C6-756A628210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40339">
              <a:off x="311813" y="969397"/>
              <a:ext cx="467259" cy="586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xmlns="" id="{A56821CE-F338-4092-AA65-FF56BAC934E8}"/>
                </a:ext>
              </a:extLst>
            </p:cNvPr>
            <p:cNvSpPr txBox="1"/>
            <p:nvPr/>
          </p:nvSpPr>
          <p:spPr>
            <a:xfrm>
              <a:off x="4091177" y="1114834"/>
              <a:ext cx="2948239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 smtClean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1 </a:t>
              </a:r>
              <a:r>
                <a:rPr lang="fr-FR" b="1" kern="0" dirty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j</a:t>
              </a:r>
              <a:r>
                <a:rPr lang="fr-FR" b="1" kern="0" dirty="0" smtClean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uin 2021</a:t>
              </a:r>
              <a:endParaRPr lang="fr-FR" b="1" kern="0" dirty="0">
                <a:solidFill>
                  <a:srgbClr val="1F44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xmlns="" id="{7BE1AD4C-7555-4199-9AED-03FB8C2FD2C3}"/>
                </a:ext>
              </a:extLst>
            </p:cNvPr>
            <p:cNvSpPr/>
            <p:nvPr/>
          </p:nvSpPr>
          <p:spPr>
            <a:xfrm>
              <a:off x="263327" y="1471101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4057907" y="1459145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xmlns="" id="{89840BAF-0B54-4083-B6C1-93D000642A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5440" y="1619847"/>
              <a:ext cx="10922095" cy="2283"/>
            </a:xfrm>
            <a:prstGeom prst="line">
              <a:avLst/>
            </a:prstGeom>
            <a:ln w="57150"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7943095" y="1502369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25" name="ZoneTexte 24"/>
          <p:cNvSpPr txBox="1"/>
          <p:nvPr/>
        </p:nvSpPr>
        <p:spPr>
          <a:xfrm>
            <a:off x="324283" y="5975062"/>
            <a:ext cx="11215784" cy="276999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r"/>
            <a:r>
              <a:rPr lang="fr-FR" sz="1200" i="1" u="sng" dirty="0" smtClean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</a:t>
            </a:r>
            <a:r>
              <a:rPr lang="fr-FR" sz="1200" i="1" u="sng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oter </a:t>
            </a:r>
            <a:r>
              <a:rPr lang="fr-FR" sz="1200" i="1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l’ensemble des opérations en ligne est soumis à des règles d’éligibilité</a:t>
            </a:r>
          </a:p>
        </p:txBody>
      </p:sp>
      <p:sp>
        <p:nvSpPr>
          <p:cNvPr id="2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pic>
        <p:nvPicPr>
          <p:cNvPr id="27" name="Picture 7">
            <a:extLst>
              <a:ext uri="{FF2B5EF4-FFF2-40B4-BE49-F238E27FC236}">
                <a16:creationId xmlns="" xmlns:a16="http://schemas.microsoft.com/office/drawing/2014/main" id="{EFADCC42-9FB7-4497-9A2B-472844C06E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7" r="19515"/>
          <a:stretch/>
        </p:blipFill>
        <p:spPr bwMode="auto">
          <a:xfrm>
            <a:off x="11164323" y="201615"/>
            <a:ext cx="820244" cy="77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44366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6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847606" y="216146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</a:rPr>
              <a:t>Fonctionnalités mises en production</a:t>
            </a:r>
          </a:p>
        </p:txBody>
      </p:sp>
      <p:sp>
        <p:nvSpPr>
          <p:cNvPr id="2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pic>
        <p:nvPicPr>
          <p:cNvPr id="27" name="Picture 7">
            <a:extLst>
              <a:ext uri="{FF2B5EF4-FFF2-40B4-BE49-F238E27FC236}">
                <a16:creationId xmlns="" xmlns:a16="http://schemas.microsoft.com/office/drawing/2014/main" id="{EFADCC42-9FB7-4497-9A2B-472844C06E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7" r="19515"/>
          <a:stretch/>
        </p:blipFill>
        <p:spPr bwMode="auto">
          <a:xfrm>
            <a:off x="11164323" y="201615"/>
            <a:ext cx="820244" cy="77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xmlns="" id="{F6A682A0-452D-4CA2-B7D2-205661F264B4}"/>
              </a:ext>
            </a:extLst>
          </p:cNvPr>
          <p:cNvSpPr txBox="1"/>
          <p:nvPr/>
        </p:nvSpPr>
        <p:spPr>
          <a:xfrm>
            <a:off x="7984847" y="1839356"/>
            <a:ext cx="3501739" cy="3857383"/>
          </a:xfrm>
          <a:prstGeom prst="rect">
            <a:avLst/>
          </a:prstGeom>
          <a:noFill/>
        </p:spPr>
        <p:txBody>
          <a:bodyPr wrap="square" lIns="162479" tIns="81239" rIns="162479" bIns="81239" rtlCol="0">
            <a:spAutoFit/>
          </a:bodyPr>
          <a:lstStyle/>
          <a:p>
            <a:pPr defTabSz="1625198">
              <a:defRPr/>
            </a:pPr>
            <a:r>
              <a:rPr lang="fr-FR" sz="1200" b="1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Rachat </a:t>
            </a:r>
            <a:r>
              <a:rPr lang="fr-FR" sz="1200" b="1" kern="0" dirty="0" smtClean="0">
                <a:ea typeface="Segoe UI Historic" panose="020B0502040204020203" pitchFamily="34" charset="0"/>
                <a:cs typeface="Segoe UI Historic" panose="020B0502040204020203" pitchFamily="34" charset="0"/>
              </a:rPr>
              <a:t>Partiel</a:t>
            </a:r>
          </a:p>
          <a:p>
            <a:pPr defTabSz="1625198">
              <a:defRPr/>
            </a:pPr>
            <a:endParaRPr lang="fr-FR" sz="1200" b="1" kern="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indent="-171450" defTabSz="1625038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Mise en place de </a:t>
            </a:r>
            <a:r>
              <a:rPr lang="fr-FR" sz="1200" b="1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la signature électronique </a:t>
            </a: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sur les actes de </a:t>
            </a:r>
            <a:r>
              <a:rPr lang="fr-FR" sz="1200" b="1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versement simple &amp; régulier  </a:t>
            </a: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dans le cas d’un </a:t>
            </a:r>
            <a:r>
              <a:rPr lang="fr-FR" sz="1200" b="1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DDC</a:t>
            </a: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 sur les contrats Multisupports :</a:t>
            </a:r>
          </a:p>
          <a:p>
            <a:pPr defTabSz="1625038">
              <a:defRPr/>
            </a:pPr>
            <a:endParaRPr lang="fr-FR" sz="1200" dirty="0">
              <a:solidFill>
                <a:prstClr val="black"/>
              </a:solidFill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defTabSz="1625038"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Règles de déclenchements du DDC : </a:t>
            </a:r>
          </a:p>
          <a:p>
            <a:pPr marL="171450" lvl="0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VU seuil 5</a:t>
            </a:r>
            <a:r>
              <a:rPr lang="fr-FR" sz="1200" dirty="0"/>
              <a:t>000 € à l’acte ou 7 500 € 1 année glissante,</a:t>
            </a:r>
          </a:p>
          <a:p>
            <a:pPr marL="171450" lvl="0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VA : </a:t>
            </a:r>
            <a:r>
              <a:rPr lang="fr-FR" sz="1200" dirty="0"/>
              <a:t>7 500 € sur 1 année glissante,</a:t>
            </a:r>
          </a:p>
          <a:p>
            <a:pPr marL="171450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Ajout d’un nouveau support. </a:t>
            </a:r>
          </a:p>
          <a:p>
            <a:pPr defTabSz="1625038">
              <a:defRPr/>
            </a:pPr>
            <a:endParaRPr lang="fr-FR" sz="1200" dirty="0">
              <a:solidFill>
                <a:prstClr val="black"/>
              </a:solidFill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indent="-171450" defTabSz="1625038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rPr>
              <a:t>Consultation des documents signés dans l’espace document de mon espace client</a:t>
            </a:r>
          </a:p>
          <a:p>
            <a:pPr marL="171450" indent="-171450" defTabSz="1625038">
              <a:buFont typeface="Wingdings" panose="05000000000000000000" pitchFamily="2" charset="2"/>
              <a:buChar char="ü"/>
              <a:defRPr/>
            </a:pPr>
            <a:endParaRPr lang="fr-FR" sz="1200" dirty="0">
              <a:solidFill>
                <a:prstClr val="black"/>
              </a:solidFill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lvl="0" indent="-171450" defTabSz="913561">
              <a:buFont typeface="Wingdings" panose="05000000000000000000" pitchFamily="2" charset="2"/>
              <a:buChar char="ü"/>
            </a:pPr>
            <a:r>
              <a:rPr lang="fr-FR" sz="1200" dirty="0"/>
              <a:t>Evolutions diverses (voir annexe)</a:t>
            </a:r>
          </a:p>
          <a:p>
            <a:pPr marL="171450" lvl="0" indent="-171450" defTabSz="913561">
              <a:buFont typeface="Wingdings" panose="05000000000000000000" pitchFamily="2" charset="2"/>
              <a:buChar char="ü"/>
            </a:pPr>
            <a:r>
              <a:rPr lang="fr-FR" sz="1200" dirty="0"/>
              <a:t>RUN: Evolutions et reliquat anomalies (voir annexe)</a:t>
            </a:r>
          </a:p>
          <a:p>
            <a:pPr defTabSz="1625038">
              <a:defRPr/>
            </a:pPr>
            <a:endParaRPr lang="fr-FR" sz="1200" b="1" kern="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defTabSz="1625038">
              <a:defRPr/>
            </a:pPr>
            <a:endParaRPr lang="fr-FR" sz="1200" b="1" kern="0" dirty="0">
              <a:latin typeface="Segoe UI Historic" panose="020B0502040204020203" pitchFamily="34" charset="0"/>
              <a:ea typeface="Segoe UI Historic" panose="020B0502040204020203" pitchFamily="34" charset="0"/>
              <a:cs typeface="Segoe UI Historic" panose="020B0502040204020203" pitchFamily="34" charset="0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xmlns="" id="{FB659BD4-9249-4719-8107-D8A012FDE2A3}"/>
              </a:ext>
            </a:extLst>
          </p:cNvPr>
          <p:cNvSpPr txBox="1"/>
          <p:nvPr/>
        </p:nvSpPr>
        <p:spPr>
          <a:xfrm>
            <a:off x="309774" y="1858406"/>
            <a:ext cx="3735963" cy="4226736"/>
          </a:xfrm>
          <a:prstGeom prst="rect">
            <a:avLst/>
          </a:prstGeom>
          <a:noFill/>
        </p:spPr>
        <p:txBody>
          <a:bodyPr wrap="square" lIns="162499" tIns="81249" rIns="162499" bIns="81249" rtlCol="0">
            <a:spAutoFit/>
          </a:bodyPr>
          <a:lstStyle/>
          <a:p>
            <a:pPr defTabSz="1625038"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Développement du </a:t>
            </a:r>
            <a:r>
              <a:rPr lang="fr-FR" sz="1200" b="1" dirty="0">
                <a:ea typeface="Segoe UI Historic" panose="020B0502040204020203" pitchFamily="34" charset="0"/>
                <a:cs typeface="Segoe UI Historic" panose="020B0502040204020203" pitchFamily="34" charset="0"/>
              </a:rPr>
              <a:t>socle technique de la signature électronique de niveau 1 </a:t>
            </a: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en préparation de 2022</a:t>
            </a:r>
          </a:p>
          <a:p>
            <a:pPr defTabSz="1625038">
              <a:defRPr/>
            </a:pPr>
            <a:endParaRPr lang="fr-FR" sz="1200" b="1" kern="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defTabSz="1625038"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+ évolutions :</a:t>
            </a:r>
          </a:p>
          <a:p>
            <a:pPr defTabSz="1625038">
              <a:defRPr/>
            </a:pPr>
            <a:endParaRPr lang="fr-FR" sz="1200" kern="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Amélioration des parcours existants :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Message qui précise au client la nature du blocage s’il ne passe pas les contrôles d’éligibilité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Affichage de la date de prélèvement et d’effet dans la synthèse du versement ponctuel (en cas de paiement par prélèvement)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Affichage de la date du prochain prélèvement pour le versement régulier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Ajout de nouvelles UC GMF (03/01)</a:t>
            </a:r>
          </a:p>
          <a:p>
            <a:pPr defTabSz="1625038">
              <a:defRPr/>
            </a:pPr>
            <a:endParaRPr lang="fr-FR" sz="1200" kern="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Règles métier :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Déclenchement du parcours de devoir de conseil sur un seuil annuel glissant de 7500€</a:t>
            </a:r>
          </a:p>
          <a:p>
            <a:pPr marL="628557" lvl="1" indent="-171450" defTabSz="1625038">
              <a:buFont typeface="Arial" panose="020B0604020202020204" pitchFamily="34" charset="0"/>
              <a:buChar char="•"/>
              <a:defRPr/>
            </a:pPr>
            <a:r>
              <a:rPr lang="fr-FR" sz="1200" kern="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En fin d’année fiscale, le paiement par CB est désactivé 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xmlns="" id="{F6A682A0-452D-4CA2-B7D2-205661F264B4}"/>
              </a:ext>
            </a:extLst>
          </p:cNvPr>
          <p:cNvSpPr txBox="1"/>
          <p:nvPr/>
        </p:nvSpPr>
        <p:spPr>
          <a:xfrm>
            <a:off x="4207662" y="1848552"/>
            <a:ext cx="3501731" cy="3857383"/>
          </a:xfrm>
          <a:prstGeom prst="rect">
            <a:avLst/>
          </a:prstGeom>
          <a:noFill/>
        </p:spPr>
        <p:txBody>
          <a:bodyPr wrap="square" lIns="162479" tIns="81239" rIns="162479" bIns="81239" rtlCol="0">
            <a:spAutoFit/>
          </a:bodyPr>
          <a:lstStyle/>
          <a:p>
            <a:pPr defTabSz="913561">
              <a:defRPr/>
            </a:pPr>
            <a:r>
              <a:rPr lang="fr-FR" sz="1200" b="1" dirty="0">
                <a:ea typeface="Segoe UI Historic" panose="020B0502040204020203" pitchFamily="34" charset="0"/>
                <a:cs typeface="Segoe UI Historic" panose="020B0502040204020203" pitchFamily="34" charset="0"/>
              </a:rPr>
              <a:t>Transverse</a:t>
            </a:r>
          </a:p>
          <a:p>
            <a:pPr indent="-342900" defTabSz="913561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Pilotage GA Selfcare V5</a:t>
            </a:r>
          </a:p>
          <a:p>
            <a:pPr indent="-342900" defTabSz="913561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Pilotage GA via Datahub</a:t>
            </a:r>
          </a:p>
          <a:p>
            <a:pPr indent="-342900" defTabSz="913561">
              <a:buFont typeface="Wingdings" panose="05000000000000000000" pitchFamily="2" charset="2"/>
              <a:buChar char="ü"/>
              <a:defRPr/>
            </a:pPr>
            <a:endParaRPr lang="fr-FR" sz="1200" kern="0" dirty="0">
              <a:solidFill>
                <a:srgbClr val="8064A2">
                  <a:lumMod val="75000"/>
                </a:srgbClr>
              </a:solidFill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lvl="0" defTabSz="913561">
              <a:defRPr/>
            </a:pPr>
            <a:r>
              <a:rPr lang="fr-FR" sz="1200" b="1" dirty="0">
                <a:ea typeface="Segoe UI Historic" panose="020B0502040204020203" pitchFamily="34" charset="0"/>
                <a:cs typeface="Segoe UI Historic" panose="020B0502040204020203" pitchFamily="34" charset="0"/>
              </a:rPr>
              <a:t>Evolutions diverses </a:t>
            </a:r>
          </a:p>
          <a:p>
            <a:pPr lvl="0" indent="-342900" defTabSz="913561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Ajustement  des parcours</a:t>
            </a:r>
          </a:p>
          <a:p>
            <a:pPr lvl="0" defTabSz="913561">
              <a:defRPr/>
            </a:pPr>
            <a:endParaRPr lang="fr-FR" sz="120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kern="0" dirty="0">
                <a:solidFill>
                  <a:prstClr val="black"/>
                </a:solidFill>
              </a:rPr>
              <a:t>Je peux supprimer un support ajouté dans un acte de VU ou VA</a:t>
            </a:r>
            <a:endParaRPr lang="fr-FR" sz="1200" dirty="0">
              <a:solidFill>
                <a:schemeClr val="dk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dk1"/>
                </a:solidFill>
              </a:rPr>
              <a:t>J'ai un fil d'Ariane pour suivre mon avancement dans le formulaire de vers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dk1"/>
                </a:solidFill>
              </a:rPr>
              <a:t>J'ai un bouton panier pour connaitre le nombre de supports sélectionnés et pour les consul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dk1"/>
                </a:solidFill>
              </a:rPr>
              <a:t>J'ai un bouton pour filtrer les supports par niveau de risque, horizon de plac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/>
              <a:t>J'ai une barre de progression pour suivre ma saisie de rachat </a:t>
            </a:r>
            <a:r>
              <a:rPr lang="fr-FR" sz="1200" dirty="0" smtClean="0"/>
              <a:t>partiel</a:t>
            </a:r>
          </a:p>
          <a:p>
            <a:pPr lvl="0"/>
            <a:endParaRPr lang="fr-FR" sz="1200" dirty="0">
              <a:ea typeface="Segoe UI Historic" panose="020B0502040204020203" pitchFamily="34" charset="0"/>
              <a:cs typeface="Segoe UI Historic" panose="020B0502040204020203" pitchFamily="34" charset="0"/>
            </a:endParaRPr>
          </a:p>
          <a:p>
            <a:pPr lvl="0" defTabSz="913561"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Existants</a:t>
            </a:r>
          </a:p>
          <a:p>
            <a:pPr lvl="0" indent="-342900" defTabSz="913561">
              <a:buFont typeface="Wingdings" panose="05000000000000000000" pitchFamily="2" charset="2"/>
              <a:buChar char="ü"/>
              <a:defRPr/>
            </a:pPr>
            <a:r>
              <a:rPr lang="fr-FR" sz="1200" dirty="0">
                <a:ea typeface="Segoe UI Historic" panose="020B0502040204020203" pitchFamily="34" charset="0"/>
                <a:cs typeface="Segoe UI Historic" panose="020B0502040204020203" pitchFamily="34" charset="0"/>
              </a:rPr>
              <a:t>Reliquat des anomalies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583540" y="1086259"/>
            <a:ext cx="11071886" cy="643563"/>
            <a:chOff x="469240" y="1105309"/>
            <a:chExt cx="11071886" cy="643563"/>
          </a:xfrm>
        </p:grpSpPr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xmlns="" id="{78B9394F-732F-431B-9DC4-D36F4BAE123D}"/>
                </a:ext>
              </a:extLst>
            </p:cNvPr>
            <p:cNvSpPr txBox="1"/>
            <p:nvPr/>
          </p:nvSpPr>
          <p:spPr>
            <a:xfrm>
              <a:off x="8004433" y="1127137"/>
              <a:ext cx="3536693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 smtClean="0">
                  <a:solidFill>
                    <a:schemeClr val="accent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19 juin 2022</a:t>
              </a:r>
              <a:endParaRPr lang="fr-FR" b="1" kern="0" dirty="0">
                <a:solidFill>
                  <a:schemeClr val="accent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xmlns="" id="{E564DA53-08F1-4B53-8B0D-643204E59E04}"/>
                </a:ext>
              </a:extLst>
            </p:cNvPr>
            <p:cNvSpPr txBox="1"/>
            <p:nvPr/>
          </p:nvSpPr>
          <p:spPr>
            <a:xfrm>
              <a:off x="673407" y="1105309"/>
              <a:ext cx="3341564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7-28  novembre 2021</a:t>
              </a:r>
            </a:p>
          </p:txBody>
        </p:sp>
        <p:sp>
          <p:nvSpPr>
            <p:cNvPr id="36" name="ZoneTexte 35">
              <a:extLst>
                <a:ext uri="{FF2B5EF4-FFF2-40B4-BE49-F238E27FC236}">
                  <a16:creationId xmlns:a16="http://schemas.microsoft.com/office/drawing/2014/main" xmlns="" id="{A56821CE-F338-4092-AA65-FF56BAC934E8}"/>
                </a:ext>
              </a:extLst>
            </p:cNvPr>
            <p:cNvSpPr txBox="1"/>
            <p:nvPr/>
          </p:nvSpPr>
          <p:spPr>
            <a:xfrm>
              <a:off x="4014977" y="1105309"/>
              <a:ext cx="2948239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1 mars 2022</a:t>
              </a: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xmlns="" id="{7BE1AD4C-7555-4199-9AED-03FB8C2FD2C3}"/>
                </a:ext>
              </a:extLst>
            </p:cNvPr>
            <p:cNvSpPr/>
            <p:nvPr/>
          </p:nvSpPr>
          <p:spPr>
            <a:xfrm>
              <a:off x="634802" y="1461576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3981707" y="1449620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xmlns="" id="{89840BAF-0B54-4083-B6C1-93D000642A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9240" y="1610322"/>
              <a:ext cx="10922095" cy="2283"/>
            </a:xfrm>
            <a:prstGeom prst="line">
              <a:avLst/>
            </a:prstGeom>
            <a:ln w="57150"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7866895" y="1492844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sp>
        <p:nvSpPr>
          <p:cNvPr id="41" name="ZoneTexte 40"/>
          <p:cNvSpPr txBox="1"/>
          <p:nvPr/>
        </p:nvSpPr>
        <p:spPr>
          <a:xfrm>
            <a:off x="248083" y="6032212"/>
            <a:ext cx="11215784" cy="276999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r"/>
            <a:r>
              <a:rPr lang="fr-FR" sz="1200" i="1" u="sng" dirty="0" smtClean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A </a:t>
            </a:r>
            <a:r>
              <a:rPr lang="fr-FR" sz="1200" i="1" u="sng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noter </a:t>
            </a:r>
            <a:r>
              <a:rPr lang="fr-FR" sz="1200" i="1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rPr>
              <a:t>: l’ensemble des opérations en ligne est soumis à des règles d’éligibilité</a:t>
            </a:r>
          </a:p>
        </p:txBody>
      </p:sp>
    </p:spTree>
    <p:extLst>
      <p:ext uri="{BB962C8B-B14F-4D97-AF65-F5344CB8AC3E}">
        <p14:creationId xmlns:p14="http://schemas.microsoft.com/office/powerpoint/2010/main" val="30206270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27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B230A99B-7A01-4FB4-AA76-CDD2750DF486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838081" y="197096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</a:rPr>
              <a:t>Fonctionnalités mises en production</a:t>
            </a:r>
          </a:p>
        </p:txBody>
      </p:sp>
      <p:sp>
        <p:nvSpPr>
          <p:cNvPr id="12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pic>
        <p:nvPicPr>
          <p:cNvPr id="13" name="Picture 7">
            <a:extLst>
              <a:ext uri="{FF2B5EF4-FFF2-40B4-BE49-F238E27FC236}">
                <a16:creationId xmlns="" xmlns:a16="http://schemas.microsoft.com/office/drawing/2014/main" id="{EFADCC42-9FB7-4497-9A2B-472844C06E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7" r="19515"/>
          <a:stretch/>
        </p:blipFill>
        <p:spPr bwMode="auto">
          <a:xfrm>
            <a:off x="11164323" y="201615"/>
            <a:ext cx="820244" cy="77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" name="Groupe 20"/>
          <p:cNvGrpSpPr/>
          <p:nvPr/>
        </p:nvGrpSpPr>
        <p:grpSpPr>
          <a:xfrm>
            <a:off x="599991" y="1225042"/>
            <a:ext cx="9467934" cy="641363"/>
            <a:chOff x="457116" y="1653667"/>
            <a:chExt cx="9467934" cy="641363"/>
          </a:xfrm>
        </p:grpSpPr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xmlns="" id="{A56821CE-F338-4092-AA65-FF56BAC934E8}"/>
                </a:ext>
              </a:extLst>
            </p:cNvPr>
            <p:cNvSpPr txBox="1"/>
            <p:nvPr/>
          </p:nvSpPr>
          <p:spPr>
            <a:xfrm>
              <a:off x="815544" y="1653667"/>
              <a:ext cx="2948239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 smtClean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2 septembre 2022</a:t>
              </a:r>
              <a:endParaRPr lang="fr-FR" b="1" kern="0" dirty="0">
                <a:solidFill>
                  <a:srgbClr val="1F44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653619" y="2039002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xmlns="" id="{89840BAF-0B54-4083-B6C1-93D000642A90}"/>
                </a:ext>
              </a:extLst>
            </p:cNvPr>
            <p:cNvCxnSpPr>
              <a:cxnSpLocks/>
            </p:cNvCxnSpPr>
            <p:nvPr/>
          </p:nvCxnSpPr>
          <p:spPr>
            <a:xfrm>
              <a:off x="457116" y="2170294"/>
              <a:ext cx="9467934" cy="16059"/>
            </a:xfrm>
            <a:prstGeom prst="line">
              <a:avLst/>
            </a:prstGeom>
            <a:ln w="57150"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xmlns="" id="{77818A83-3B41-4FEE-AEFE-8901490CB0B3}"/>
                </a:ext>
              </a:extLst>
            </p:cNvPr>
            <p:cNvSpPr/>
            <p:nvPr/>
          </p:nvSpPr>
          <p:spPr>
            <a:xfrm>
              <a:off x="4929761" y="2037576"/>
              <a:ext cx="256028" cy="25602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162499" tIns="81249" rIns="162499" bIns="81249" rtlCol="0" anchor="ctr"/>
            <a:lstStyle/>
            <a:p>
              <a:pPr algn="ctr" defTabSz="1624998">
                <a:defRPr/>
              </a:pPr>
              <a:endParaRPr lang="fr-FR" sz="2800" kern="0">
                <a:solidFill>
                  <a:prstClr val="white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xmlns="" id="{A56821CE-F338-4092-AA65-FF56BAC934E8}"/>
                </a:ext>
              </a:extLst>
            </p:cNvPr>
            <p:cNvSpPr txBox="1"/>
            <p:nvPr/>
          </p:nvSpPr>
          <p:spPr>
            <a:xfrm>
              <a:off x="5100064" y="1653667"/>
              <a:ext cx="2948239" cy="384717"/>
            </a:xfrm>
            <a:prstGeom prst="rect">
              <a:avLst/>
            </a:prstGeom>
            <a:noFill/>
          </p:spPr>
          <p:txBody>
            <a:bodyPr wrap="square" lIns="91424" tIns="45718" rIns="91424" bIns="45718" rtlCol="0">
              <a:spAutoFit/>
            </a:bodyPr>
            <a:lstStyle/>
            <a:p>
              <a:pPr defTabSz="1218930">
                <a:defRPr/>
              </a:pPr>
              <a:r>
                <a:rPr lang="fr-FR" b="1" kern="0" dirty="0" smtClean="0">
                  <a:solidFill>
                    <a:srgbClr val="1F4471"/>
                  </a:solidFill>
                  <a:latin typeface="Segoe UI Historic" panose="020B0502040204020203" pitchFamily="34" charset="0"/>
                  <a:ea typeface="Segoe UI Historic" panose="020B0502040204020203" pitchFamily="34" charset="0"/>
                  <a:cs typeface="Segoe UI Historic" panose="020B0502040204020203" pitchFamily="34" charset="0"/>
                </a:rPr>
                <a:t>26 novembre 2022</a:t>
              </a:r>
              <a:endParaRPr lang="fr-FR" b="1" kern="0" dirty="0">
                <a:solidFill>
                  <a:srgbClr val="1F447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  <p:grpSp>
        <p:nvGrpSpPr>
          <p:cNvPr id="22" name="Groupe 21"/>
          <p:cNvGrpSpPr/>
          <p:nvPr/>
        </p:nvGrpSpPr>
        <p:grpSpPr>
          <a:xfrm>
            <a:off x="761673" y="1891078"/>
            <a:ext cx="8643083" cy="3676090"/>
            <a:chOff x="761673" y="1891078"/>
            <a:chExt cx="8643083" cy="3676090"/>
          </a:xfrm>
        </p:grpSpPr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xmlns="" id="{F6A682A0-452D-4CA2-B7D2-205661F264B4}"/>
                </a:ext>
              </a:extLst>
            </p:cNvPr>
            <p:cNvSpPr txBox="1"/>
            <p:nvPr/>
          </p:nvSpPr>
          <p:spPr>
            <a:xfrm>
              <a:off x="761673" y="2079116"/>
              <a:ext cx="4296102" cy="3488052"/>
            </a:xfrm>
            <a:prstGeom prst="rect">
              <a:avLst/>
            </a:prstGeom>
            <a:noFill/>
          </p:spPr>
          <p:txBody>
            <a:bodyPr wrap="square" lIns="162479" tIns="81239" rIns="162479" bIns="81239" rtlCol="0">
              <a:spAutoFit/>
            </a:bodyPr>
            <a:lstStyle/>
            <a:p>
              <a:pPr marL="228600" indent="-22860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rbitrage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Mise en place de la </a:t>
              </a: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ignature électronique </a:t>
              </a: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2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ctes maximum sur 1 année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glissante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éclenchement </a:t>
              </a: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DC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des le 1</a:t>
              </a:r>
              <a:r>
                <a:rPr lang="fr-FR" sz="1200" baseline="300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er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€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e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upport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Mode cible ou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ésinvestir réinvestir</a:t>
              </a:r>
            </a:p>
            <a:p>
              <a:pPr lvl="1" defTabSz="1625038"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Contact </a:t>
              </a: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conseiller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Mise en avant dans l’univers vie d’un </a:t>
              </a:r>
              <a:r>
                <a:rPr lang="fr-FR" sz="1200" dirty="0" err="1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ticky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avec un accès rapide aux moyens de contact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Info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ppeler,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prise de RDV, et messagerie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écurisée</a:t>
              </a:r>
            </a:p>
            <a:p>
              <a:pPr lvl="1" defTabSz="1625038"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Paiement CB Migration </a:t>
              </a: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technique</a:t>
              </a:r>
              <a:endParaRPr lang="fr-FR" sz="1200" dirty="0" smtClean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1625038"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Evolutions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iverses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(voir annexe)</a:t>
              </a: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RUN: Evolutions et reliquat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nomalies (voir annexe)</a:t>
              </a: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1625038">
                <a:defRPr/>
              </a:pPr>
              <a:endParaRPr lang="fr-FR" sz="1200" b="1" kern="0" dirty="0" smtClean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1625038">
                <a:defRPr/>
              </a:pPr>
              <a:endParaRPr lang="fr-FR" sz="1200" b="1" kern="0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xmlns="" id="{F6A682A0-452D-4CA2-B7D2-205661F264B4}"/>
                </a:ext>
              </a:extLst>
            </p:cNvPr>
            <p:cNvSpPr txBox="1"/>
            <p:nvPr/>
          </p:nvSpPr>
          <p:spPr>
            <a:xfrm>
              <a:off x="5108654" y="1891078"/>
              <a:ext cx="4296102" cy="3303386"/>
            </a:xfrm>
            <a:prstGeom prst="rect">
              <a:avLst/>
            </a:prstGeom>
            <a:noFill/>
          </p:spPr>
          <p:txBody>
            <a:bodyPr wrap="square" lIns="162479" tIns="81239" rIns="162479" bIns="81239" rtlCol="0">
              <a:spAutoFit/>
            </a:bodyPr>
            <a:lstStyle/>
            <a:p>
              <a:pPr lvl="1" defTabSz="913561"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913561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Ajout de compte bancaire depuis la consultation du </a:t>
              </a: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contrat </a:t>
              </a:r>
              <a:endParaRPr lang="fr-FR" sz="1200" b="1" dirty="0" smtClean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285750" indent="-285750" defTabSz="913561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Pour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les prélèvements et les virements</a:t>
              </a:r>
            </a:p>
            <a:p>
              <a:pPr marL="171450" indent="-171450" defTabSz="913561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 Validation -ou non-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e l’ajout de compte   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bancaire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ous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10j</a:t>
              </a: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913561"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Mise </a:t>
              </a: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à jour de </a:t>
              </a:r>
              <a:r>
                <a:rPr lang="fr-FR" sz="1200" b="1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compte bancaire depuis un acte</a:t>
              </a:r>
              <a:endParaRPr lang="fr-FR" sz="1200" b="1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VU/VA :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ignature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mandat SEPA dans un acte de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versement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Rachat partiel : routage vers le parcours de mise à jour de compte bancaire</a:t>
              </a:r>
            </a:p>
            <a:p>
              <a:pPr marL="171450" indent="-171450" defTabSz="1625038">
                <a:buFont typeface="Arial" panose="020B0604020202020204" pitchFamily="34" charset="0"/>
                <a:buChar char="•"/>
                <a:defRPr/>
              </a:pPr>
              <a:endParaRPr lang="fr-FR" sz="1200" dirty="0">
                <a:solidFill>
                  <a:prstClr val="black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marL="171450" indent="-171450" defTabSz="913561">
                <a:buFont typeface="Wingdings" panose="05000000000000000000" pitchFamily="2" charset="2"/>
                <a:buChar char="ü"/>
                <a:defRPr/>
              </a:pP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Up-</a:t>
              </a:r>
              <a:r>
                <a:rPr lang="fr-FR" sz="1200" b="1" dirty="0" err="1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ell</a:t>
              </a: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-Cross -</a:t>
              </a:r>
              <a:r>
                <a:rPr lang="fr-FR" sz="1200" b="1" dirty="0" err="1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ell</a:t>
              </a:r>
              <a:r>
                <a:rPr lang="fr-FR" sz="1200" b="1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: bannières promotionnelles et des articles sur l’actualité de l’assurance Vie</a:t>
              </a:r>
            </a:p>
            <a:p>
              <a:pPr marL="171450" indent="-171450" defTabSz="913561">
                <a:buFont typeface="Arial" panose="020B0604020202020204" pitchFamily="34" charset="0"/>
                <a:buChar char="•"/>
                <a:defRPr/>
              </a:pP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Le CMS </a:t>
              </a:r>
              <a:r>
                <a:rPr lang="fr-FR" sz="1200" dirty="0" err="1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Jahia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 va permettre à la DAV de publier en temps </a:t>
              </a:r>
              <a:r>
                <a:rPr lang="fr-FR" sz="1200" dirty="0" smtClean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réel </a:t>
              </a:r>
              <a:r>
                <a:rPr lang="fr-FR" sz="1200" dirty="0">
                  <a:solidFill>
                    <a:prstClr val="black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du contenu éditorial et proposer des simulateurs.</a:t>
              </a:r>
            </a:p>
            <a:p>
              <a:pPr defTabSz="1625038">
                <a:defRPr/>
              </a:pPr>
              <a:endParaRPr lang="fr-FR" sz="1200" dirty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  <a:p>
              <a:pPr defTabSz="1625038">
                <a:defRPr/>
              </a:pPr>
              <a:endParaRPr lang="fr-FR" sz="1200" b="1" kern="0" dirty="0" smtClean="0">
                <a:solidFill>
                  <a:prstClr val="black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3511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3"/>
          </p:nvPr>
        </p:nvSpPr>
        <p:spPr>
          <a:xfrm>
            <a:off x="1288554" y="1946003"/>
            <a:ext cx="3222625" cy="398463"/>
          </a:xfrm>
        </p:spPr>
        <p:txBody>
          <a:bodyPr/>
          <a:lstStyle/>
          <a:p>
            <a:r>
              <a:rPr lang="fr-FR" b="1" dirty="0"/>
              <a:t>Trajectoire </a:t>
            </a:r>
            <a:r>
              <a:rPr lang="fr-FR" b="1" dirty="0" smtClean="0"/>
              <a:t>projet</a:t>
            </a:r>
            <a:endParaRPr lang="fr-FR" b="1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4"/>
          </p:nvPr>
        </p:nvSpPr>
        <p:spPr>
          <a:xfrm>
            <a:off x="1349514" y="3461098"/>
            <a:ext cx="4258806" cy="398463"/>
          </a:xfrm>
        </p:spPr>
        <p:txBody>
          <a:bodyPr/>
          <a:lstStyle/>
          <a:p>
            <a:r>
              <a:rPr lang="fr-FR" b="1" dirty="0"/>
              <a:t>Mars 2023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fr-FR" dirty="0"/>
              <a:t>Nouvelles fonctionnalités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fr-FR" dirty="0"/>
              <a:t>Amélioration continue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fr-FR" dirty="0"/>
              <a:t>Publications du trimestre </a:t>
            </a:r>
            <a:br>
              <a:rPr lang="fr-FR" dirty="0"/>
            </a:br>
            <a:r>
              <a:rPr lang="fr-FR" sz="1200" b="1" i="1" dirty="0"/>
              <a:t>Rubrique </a:t>
            </a:r>
            <a:r>
              <a:rPr lang="fr-FR" sz="1200" b="1" i="1" dirty="0" smtClean="0"/>
              <a:t>Actualité </a:t>
            </a:r>
            <a:r>
              <a:rPr lang="fr-FR" sz="1200" b="1" i="1" dirty="0"/>
              <a:t>Vi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5"/>
          </p:nvPr>
        </p:nvSpPr>
        <p:spPr>
          <a:xfrm>
            <a:off x="1320486" y="4952107"/>
            <a:ext cx="3222625" cy="398463"/>
          </a:xfrm>
        </p:spPr>
        <p:txBody>
          <a:bodyPr/>
          <a:lstStyle/>
          <a:p>
            <a:r>
              <a:rPr lang="fr-FR" b="1" dirty="0"/>
              <a:t>Pilotage</a:t>
            </a:r>
            <a:r>
              <a:rPr lang="fr-FR" dirty="0"/>
              <a:t/>
            </a:r>
            <a:br>
              <a:rPr lang="fr-FR" dirty="0"/>
            </a:br>
            <a:r>
              <a:rPr lang="fr-FR" dirty="0" err="1"/>
              <a:t>Reporting</a:t>
            </a:r>
            <a:r>
              <a:rPr lang="fr-FR" dirty="0"/>
              <a:t> à fin janvier 2023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26"/>
          </p:nvPr>
        </p:nvSpPr>
        <p:spPr>
          <a:xfrm>
            <a:off x="6644326" y="2017123"/>
            <a:ext cx="3222625" cy="398463"/>
          </a:xfrm>
        </p:spPr>
        <p:txBody>
          <a:bodyPr/>
          <a:lstStyle/>
          <a:p>
            <a:r>
              <a:rPr lang="fr-FR" b="1" dirty="0"/>
              <a:t>Les parcours en </a:t>
            </a:r>
            <a:r>
              <a:rPr lang="fr-FR" b="1" dirty="0" smtClean="0"/>
              <a:t>vidéos</a:t>
            </a:r>
            <a:br>
              <a:rPr lang="fr-FR" b="1" dirty="0" smtClean="0"/>
            </a:br>
            <a:r>
              <a:rPr lang="fr-FR" b="1" dirty="0" smtClean="0"/>
              <a:t>&amp; Annexes</a:t>
            </a:r>
            <a:endParaRPr lang="fr-FR" b="1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3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1219170"/>
            <a:fld id="{AC9D944E-5974-44A4-AF8F-73C0D301C545}" type="datetime1">
              <a:rPr lang="fr-FR" smtClean="0">
                <a:solidFill>
                  <a:srgbClr val="8F7332"/>
                </a:solidFill>
              </a:rPr>
              <a:pPr defTabSz="121917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08320" y="2997200"/>
            <a:ext cx="1788160" cy="172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689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rajectoire proje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4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922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5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123D6B-C94F-4368-89FE-51095D3AD584}" type="datetime1">
              <a:rPr lang="fr-FR" smtClean="0">
                <a:solidFill>
                  <a:srgbClr val="8F7332"/>
                </a:solidFill>
              </a:rPr>
              <a:pPr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877146" y="342672"/>
            <a:ext cx="10481202" cy="585788"/>
          </a:xfrm>
          <a:prstGeom prst="rect">
            <a:avLst/>
          </a:prstGeom>
        </p:spPr>
        <p:txBody>
          <a:bodyPr/>
          <a:lstStyle>
            <a:lvl1pPr algn="l" defTabSz="9142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>
                <a:solidFill>
                  <a:srgbClr val="1C244F"/>
                </a:solidFill>
              </a:rPr>
              <a:t>La trajectoire projet </a:t>
            </a:r>
            <a:r>
              <a:rPr lang="fr-FR" sz="2400" b="1" dirty="0" err="1">
                <a:solidFill>
                  <a:srgbClr val="1C244F"/>
                </a:solidFill>
              </a:rPr>
              <a:t>Selfcare</a:t>
            </a:r>
            <a:r>
              <a:rPr lang="fr-FR" sz="2400" b="1" dirty="0">
                <a:solidFill>
                  <a:srgbClr val="1C244F"/>
                </a:solidFill>
              </a:rPr>
              <a:t> Vie 2023</a:t>
            </a:r>
          </a:p>
        </p:txBody>
      </p:sp>
      <p:sp>
        <p:nvSpPr>
          <p:cNvPr id="10" name="Rectangle 9"/>
          <p:cNvSpPr/>
          <p:nvPr/>
        </p:nvSpPr>
        <p:spPr>
          <a:xfrm>
            <a:off x="829521" y="1045186"/>
            <a:ext cx="1088622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493"/>
            <a:r>
              <a:rPr lang="fr-FR" dirty="0">
                <a:solidFill>
                  <a:prstClr val="black"/>
                </a:solidFill>
              </a:rPr>
              <a:t>Un espace qui poursuit son développement avec de nouvelles </a:t>
            </a:r>
            <a:r>
              <a:rPr lang="fr-FR" dirty="0" smtClean="0">
                <a:solidFill>
                  <a:prstClr val="black"/>
                </a:solidFill>
              </a:rPr>
              <a:t>fonctionnalités sur </a:t>
            </a:r>
            <a:r>
              <a:rPr lang="fr-FR" dirty="0" err="1" smtClean="0">
                <a:solidFill>
                  <a:prstClr val="black"/>
                </a:solidFill>
              </a:rPr>
              <a:t>l’app</a:t>
            </a:r>
            <a:r>
              <a:rPr lang="fr-FR" dirty="0" smtClean="0">
                <a:solidFill>
                  <a:prstClr val="black"/>
                </a:solidFill>
              </a:rPr>
              <a:t> mobile GMF</a:t>
            </a:r>
            <a:r>
              <a:rPr lang="fr-FR" sz="2000" dirty="0" smtClean="0">
                <a:solidFill>
                  <a:prstClr val="black"/>
                </a:solidFill>
              </a:rPr>
              <a:t>.</a:t>
            </a:r>
            <a:endParaRPr lang="fr-FR" sz="2000" dirty="0">
              <a:solidFill>
                <a:prstClr val="black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640" y="1597696"/>
            <a:ext cx="9387840" cy="4504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655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nctionnalités déployées en mars 2023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>
                <a:solidFill>
                  <a:srgbClr val="8F7332"/>
                </a:solidFill>
              </a:rPr>
              <a:pPr/>
              <a:t>6</a:t>
            </a:fld>
            <a:endParaRPr lang="fr-FR">
              <a:solidFill>
                <a:srgbClr val="8F7332"/>
              </a:solidFill>
            </a:endParaRP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914400"/>
            <a:fld id="{D845AE98-4CAA-493D-A613-AE89C6450CF8}" type="datetime1">
              <a:rPr lang="fr-FR" smtClean="0">
                <a:solidFill>
                  <a:srgbClr val="8F7332"/>
                </a:solidFill>
              </a:rPr>
              <a:pPr defTabSz="914400"/>
              <a:t>15/03/2023</a:t>
            </a:fld>
            <a:endParaRPr lang="fr-FR" dirty="0">
              <a:solidFill>
                <a:srgbClr val="8F7332"/>
              </a:solidFill>
            </a:endParaRPr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8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9071" y="6139739"/>
            <a:ext cx="542571" cy="365125"/>
          </a:xfrm>
        </p:spPr>
        <p:txBody>
          <a:bodyPr/>
          <a:lstStyle/>
          <a:p>
            <a:fld id="{F58D08CA-ACAF-49A8-BABE-4530045D46EE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>
          <a:xfrm>
            <a:off x="10466278" y="6438025"/>
            <a:ext cx="528592" cy="151881"/>
          </a:xfrm>
        </p:spPr>
        <p:txBody>
          <a:bodyPr/>
          <a:lstStyle/>
          <a:p>
            <a:fld id="{92123D6B-C94F-4368-89FE-51095D3AD584}" type="datetime1">
              <a:rPr lang="fr-FR" smtClean="0"/>
              <a:t>15/03/2023</a:t>
            </a:fld>
            <a:endParaRPr lang="fr-FR" dirty="0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904756" y="288254"/>
            <a:ext cx="9265251" cy="6340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>
                <a:solidFill>
                  <a:schemeClr val="accent1"/>
                </a:solidFill>
              </a:rPr>
              <a:t>Fonctionnalités mises en </a:t>
            </a:r>
            <a:r>
              <a:rPr lang="fr-FR" sz="2400" dirty="0" smtClean="0">
                <a:solidFill>
                  <a:schemeClr val="accent1"/>
                </a:solidFill>
              </a:rPr>
              <a:t>production en MARS 2023</a:t>
            </a:r>
            <a:endParaRPr lang="fr-FR" sz="2400" dirty="0">
              <a:solidFill>
                <a:schemeClr val="accent1"/>
              </a:solidFill>
            </a:endParaRPr>
          </a:p>
        </p:txBody>
      </p:sp>
      <p:grpSp>
        <p:nvGrpSpPr>
          <p:cNvPr id="15" name="Groupe 14"/>
          <p:cNvGrpSpPr/>
          <p:nvPr/>
        </p:nvGrpSpPr>
        <p:grpSpPr>
          <a:xfrm>
            <a:off x="873016" y="1605272"/>
            <a:ext cx="2921540" cy="1441879"/>
            <a:chOff x="2877982" y="1085361"/>
            <a:chExt cx="2921540" cy="1441879"/>
          </a:xfrm>
        </p:grpSpPr>
        <p:sp>
          <p:nvSpPr>
            <p:cNvPr id="39" name="Rectangle 38"/>
            <p:cNvSpPr/>
            <p:nvPr/>
          </p:nvSpPr>
          <p:spPr>
            <a:xfrm>
              <a:off x="2877982" y="1087240"/>
              <a:ext cx="2921540" cy="1440000"/>
            </a:xfrm>
            <a:prstGeom prst="rect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lIns="68574" tIns="34289" rIns="68574" bIns="34289" rtlCol="0" anchor="ctr"/>
            <a:lstStyle/>
            <a:p>
              <a:pPr algn="ctr" defTabSz="685052">
                <a:defRPr/>
              </a:pPr>
              <a:endParaRPr lang="fr-FR" sz="1200" kern="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877982" y="1085361"/>
              <a:ext cx="2921540" cy="72187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2877982" y="1087239"/>
              <a:ext cx="2780864" cy="720000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 lIns="91430" tIns="45715" rIns="91430" bIns="45715" anchor="ctr" anchorCtr="0">
              <a:noAutofit/>
            </a:bodyPr>
            <a:lstStyle/>
            <a:p>
              <a:pPr algn="ctr" defTabSz="685596">
                <a:defRPr/>
              </a:pPr>
              <a:r>
                <a:rPr lang="fr-FR" sz="1200" b="1" kern="0" dirty="0" smtClean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Outils d’aide à la vente</a:t>
              </a:r>
            </a:p>
            <a:p>
              <a:pPr algn="ctr" defTabSz="685596">
                <a:defRPr/>
              </a:pPr>
              <a:r>
                <a:rPr lang="fr-FR" sz="1200" b="1" kern="0" dirty="0" smtClean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(lot </a:t>
              </a:r>
              <a:r>
                <a:rPr lang="fr-FR" sz="1200" b="1" kern="0" dirty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2)</a:t>
              </a:r>
            </a:p>
            <a:p>
              <a:pPr algn="ctr" defTabSz="685596">
                <a:defRPr/>
              </a:pPr>
              <a:r>
                <a:rPr lang="fr-FR" sz="800" i="1" kern="0" dirty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Simulateurs </a:t>
              </a:r>
            </a:p>
            <a:p>
              <a:pPr algn="ctr" defTabSz="685596">
                <a:defRPr/>
              </a:pPr>
              <a:r>
                <a:rPr lang="fr-FR" sz="800" i="1" kern="0" dirty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Conseils et pédagogie 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953373" y="2026079"/>
              <a:ext cx="2705473" cy="253914"/>
            </a:xfrm>
            <a:prstGeom prst="rect">
              <a:avLst/>
            </a:prstGeom>
            <a:solidFill>
              <a:sysClr val="window" lastClr="FFFFFF"/>
            </a:solidFill>
            <a:ln w="28575">
              <a:solidFill>
                <a:sysClr val="window" lastClr="FFFFFF"/>
              </a:solidFill>
            </a:ln>
          </p:spPr>
          <p:txBody>
            <a:bodyPr wrap="square" lIns="68574" tIns="34289" rIns="68574" bIns="34289" anchor="ctr">
              <a:spAutoFit/>
            </a:bodyPr>
            <a:lstStyle/>
            <a:p>
              <a:pPr marL="128576" lvl="1" indent="-128576" defTabSz="1218659">
                <a:buFont typeface="Arial" panose="020B0604020202020204" pitchFamily="34" charset="0"/>
                <a:buChar char="•"/>
                <a:defRPr/>
              </a:pPr>
              <a:r>
                <a:rPr lang="fr-FR" sz="1200" i="1" kern="0" dirty="0">
                  <a:solidFill>
                    <a:srgbClr val="1C244F"/>
                  </a:solidFill>
                  <a:ea typeface="Arial" charset="0"/>
                  <a:cs typeface="Arial" charset="0"/>
                </a:rPr>
                <a:t>S</a:t>
              </a:r>
              <a:r>
                <a:rPr lang="fr-FR" sz="1200" i="1" kern="0" dirty="0" smtClean="0">
                  <a:solidFill>
                    <a:srgbClr val="1C244F"/>
                  </a:solidFill>
                  <a:ea typeface="Arial" charset="0"/>
                  <a:cs typeface="Arial" charset="0"/>
                </a:rPr>
                <a:t>imulateurs </a:t>
              </a:r>
              <a:r>
                <a:rPr lang="fr-FR" sz="1200" i="1" kern="0" dirty="0">
                  <a:solidFill>
                    <a:srgbClr val="1C244F"/>
                  </a:solidFill>
                  <a:ea typeface="Arial" charset="0"/>
                  <a:cs typeface="Arial" charset="0"/>
                </a:rPr>
                <a:t>: </a:t>
              </a:r>
              <a:r>
                <a:rPr lang="fr-FR" sz="1200" i="1" kern="0" dirty="0" smtClean="0">
                  <a:solidFill>
                    <a:srgbClr val="1C244F"/>
                  </a:solidFill>
                  <a:ea typeface="Arial" charset="0"/>
                  <a:cs typeface="Arial" charset="0"/>
                </a:rPr>
                <a:t>épargne  et prévoyance</a:t>
              </a:r>
            </a:p>
          </p:txBody>
        </p:sp>
      </p:grpSp>
      <p:grpSp>
        <p:nvGrpSpPr>
          <p:cNvPr id="24" name="Groupe 23"/>
          <p:cNvGrpSpPr/>
          <p:nvPr/>
        </p:nvGrpSpPr>
        <p:grpSpPr>
          <a:xfrm>
            <a:off x="873016" y="3449119"/>
            <a:ext cx="2921540" cy="1441879"/>
            <a:chOff x="2870912" y="4302981"/>
            <a:chExt cx="2921540" cy="1861622"/>
          </a:xfrm>
        </p:grpSpPr>
        <p:sp>
          <p:nvSpPr>
            <p:cNvPr id="26" name="Rectangle 25"/>
            <p:cNvSpPr/>
            <p:nvPr/>
          </p:nvSpPr>
          <p:spPr>
            <a:xfrm>
              <a:off x="2870912" y="4304860"/>
              <a:ext cx="2921540" cy="1859743"/>
            </a:xfrm>
            <a:prstGeom prst="rect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lIns="68574" tIns="34289" rIns="68574" bIns="34289" rtlCol="0" anchor="ctr"/>
            <a:lstStyle/>
            <a:p>
              <a:pPr algn="ctr" defTabSz="685052">
                <a:defRPr/>
              </a:pPr>
              <a:endParaRPr lang="fr-FR" sz="1200" kern="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870912" y="4302981"/>
              <a:ext cx="2921540" cy="767796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870912" y="4304858"/>
              <a:ext cx="2780864" cy="765799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txBody>
            <a:bodyPr wrap="square" lIns="91430" tIns="45715" rIns="91430" bIns="45715" anchor="ctr" anchorCtr="0">
              <a:noAutofit/>
            </a:bodyPr>
            <a:lstStyle/>
            <a:p>
              <a:pPr algn="ctr" defTabSz="685596">
                <a:defRPr/>
              </a:pPr>
              <a:r>
                <a:rPr lang="fr-FR" sz="1200" b="1" kern="0" dirty="0" smtClean="0">
                  <a:solidFill>
                    <a:schemeClr val="bg1"/>
                  </a:solidFill>
                  <a:ea typeface="Segoe UI Historic" panose="020B0502040204020203" pitchFamily="34" charset="0"/>
                  <a:cs typeface="Segoe UI Historic" panose="020B0502040204020203" pitchFamily="34" charset="0"/>
                </a:rPr>
                <a:t>Evolutions diverses</a:t>
              </a:r>
              <a:endParaRPr lang="fr-FR" sz="800" i="1" kern="0" dirty="0">
                <a:solidFill>
                  <a:schemeClr val="bg1"/>
                </a:solidFill>
                <a:ea typeface="Segoe UI Historic" panose="020B0502040204020203" pitchFamily="34" charset="0"/>
                <a:cs typeface="Segoe UI Historic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946303" y="5206741"/>
              <a:ext cx="2705473" cy="327830"/>
            </a:xfrm>
            <a:prstGeom prst="rect">
              <a:avLst/>
            </a:prstGeom>
            <a:solidFill>
              <a:sysClr val="window" lastClr="FFFFFF"/>
            </a:solidFill>
            <a:ln w="28575">
              <a:solidFill>
                <a:sysClr val="window" lastClr="FFFFFF"/>
              </a:solidFill>
            </a:ln>
          </p:spPr>
          <p:txBody>
            <a:bodyPr wrap="square" lIns="68574" tIns="34289" rIns="68574" bIns="34289" anchor="ctr">
              <a:spAutoFit/>
            </a:bodyPr>
            <a:lstStyle/>
            <a:p>
              <a:pPr marL="128576" lvl="1" indent="-128576" defTabSz="1218659">
                <a:buFont typeface="Arial" panose="020B0604020202020204" pitchFamily="34" charset="0"/>
                <a:buChar char="•"/>
                <a:defRPr/>
              </a:pPr>
              <a:r>
                <a:rPr lang="fr-FR" sz="1200" i="1" kern="0" dirty="0">
                  <a:solidFill>
                    <a:srgbClr val="1C244F"/>
                  </a:solidFill>
                  <a:ea typeface="Arial" charset="0"/>
                  <a:cs typeface="Arial" charset="0"/>
                </a:rPr>
                <a:t>11  évolutions prises en comptes</a:t>
              </a:r>
            </a:p>
          </p:txBody>
        </p:sp>
      </p:grpSp>
      <p:sp>
        <p:nvSpPr>
          <p:cNvPr id="22" name="Bulle rectangulaire 48">
            <a:extLst>
              <a:ext uri="{FF2B5EF4-FFF2-40B4-BE49-F238E27FC236}">
                <a16:creationId xmlns:a16="http://schemas.microsoft.com/office/drawing/2014/main" xmlns="" id="{E25558E4-D68E-8B41-94DA-F5944EAC673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400240" y="1806442"/>
            <a:ext cx="7311114" cy="820543"/>
          </a:xfrm>
          <a:prstGeom prst="wedgeRectCallout">
            <a:avLst>
              <a:gd name="adj1" fmla="val -56335"/>
              <a:gd name="adj2" fmla="val 12863"/>
            </a:avLst>
          </a:prstGeom>
          <a:solidFill>
            <a:sysClr val="window" lastClr="FFFFFF"/>
          </a:solidFill>
          <a:ln w="25400" cap="flat" cmpd="sng" algn="ctr">
            <a:solidFill>
              <a:srgbClr val="00B0F0"/>
            </a:solidFill>
            <a:prstDash val="solid"/>
          </a:ln>
          <a:effectLst/>
        </p:spPr>
        <p:txBody>
          <a:bodyPr lIns="91432" tIns="45718" rIns="91432" bIns="45718" rtlCol="0" anchor="ctr"/>
          <a:lstStyle/>
          <a:p>
            <a:pPr marL="285750" indent="-285750" defTabSz="914400">
              <a:buFont typeface="Wingdings" panose="05000000000000000000" pitchFamily="2" charset="2"/>
              <a:buChar char="q"/>
            </a:pPr>
            <a:r>
              <a:rPr lang="fr-FR" sz="1300" dirty="0" smtClean="0">
                <a:solidFill>
                  <a:srgbClr val="64676E"/>
                </a:solidFill>
              </a:rPr>
              <a:t>Mise à disposition des clients d’outils de simulation sur les périmètres épargne et prévoyance.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</a:pPr>
            <a:r>
              <a:rPr lang="fr-FR" sz="1300" dirty="0" smtClean="0">
                <a:solidFill>
                  <a:srgbClr val="64676E"/>
                </a:solidFill>
              </a:rPr>
              <a:t>Création de flux –leads qualifiés- dans les réseaux</a:t>
            </a:r>
            <a:endParaRPr lang="fr-FR" sz="1300" b="1" dirty="0" smtClean="0">
              <a:solidFill>
                <a:srgbClr val="7030A0"/>
              </a:solidFill>
            </a:endParaRPr>
          </a:p>
        </p:txBody>
      </p:sp>
      <p:sp>
        <p:nvSpPr>
          <p:cNvPr id="23" name="Bulle rectangulaire 48">
            <a:extLst>
              <a:ext uri="{FF2B5EF4-FFF2-40B4-BE49-F238E27FC236}">
                <a16:creationId xmlns:a16="http://schemas.microsoft.com/office/drawing/2014/main" xmlns="" id="{E25558E4-D68E-8B41-94DA-F5944EAC67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400240" y="3047150"/>
            <a:ext cx="7311114" cy="2404081"/>
          </a:xfrm>
          <a:prstGeom prst="wedgeRectCallout">
            <a:avLst>
              <a:gd name="adj1" fmla="val -56335"/>
              <a:gd name="adj2" fmla="val 12863"/>
            </a:avLst>
          </a:prstGeom>
          <a:solidFill>
            <a:sysClr val="window" lastClr="FFFFFF"/>
          </a:solidFill>
          <a:ln w="25400" cap="flat" cmpd="sng" algn="ctr">
            <a:solidFill>
              <a:srgbClr val="00B0F0"/>
            </a:solidFill>
            <a:prstDash val="solid"/>
          </a:ln>
          <a:effectLst/>
        </p:spPr>
        <p:txBody>
          <a:bodyPr lIns="91432" tIns="45718" rIns="91432" bIns="45718" rtlCol="0" anchor="ctr"/>
          <a:lstStyle/>
          <a:p>
            <a:pPr defTabSz="914400"/>
            <a:r>
              <a:rPr lang="fr-FR" sz="1300" u="sng" dirty="0">
                <a:solidFill>
                  <a:srgbClr val="64676E"/>
                </a:solidFill>
              </a:rPr>
              <a:t>Les principales évolutions à noter</a:t>
            </a:r>
            <a:r>
              <a:rPr lang="fr-FR" sz="1300" b="1" u="sng" dirty="0">
                <a:solidFill>
                  <a:srgbClr val="64676E"/>
                </a:solidFill>
              </a:rPr>
              <a:t>*</a:t>
            </a:r>
          </a:p>
          <a:p>
            <a:pPr defTabSz="914400"/>
            <a:endParaRPr lang="fr-FR" sz="1300" u="sng" dirty="0">
              <a:solidFill>
                <a:srgbClr val="64676E"/>
              </a:solidFill>
            </a:endParaRPr>
          </a:p>
          <a:p>
            <a:pPr marL="342900" indent="-342900" defTabSz="914400">
              <a:buFont typeface="+mj-lt"/>
              <a:buAutoNum type="arabicPeriod"/>
            </a:pPr>
            <a:r>
              <a:rPr lang="fr-FR" sz="1300" b="1" dirty="0">
                <a:solidFill>
                  <a:srgbClr val="64676E"/>
                </a:solidFill>
              </a:rPr>
              <a:t>Concernant le produit </a:t>
            </a:r>
            <a:r>
              <a:rPr lang="fr-FR" sz="1300" b="1" dirty="0" smtClean="0">
                <a:solidFill>
                  <a:srgbClr val="64676E"/>
                </a:solidFill>
              </a:rPr>
              <a:t>PER </a:t>
            </a:r>
            <a:endParaRPr lang="fr-FR" sz="1300" b="1" dirty="0">
              <a:solidFill>
                <a:srgbClr val="64676E"/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q"/>
            </a:pPr>
            <a:r>
              <a:rPr lang="fr-FR" sz="1300" dirty="0">
                <a:solidFill>
                  <a:srgbClr val="64676E"/>
                </a:solidFill>
              </a:rPr>
              <a:t>Réorganisation de la page de sélection des compartiments</a:t>
            </a:r>
          </a:p>
          <a:p>
            <a:pPr marL="285750" indent="-285750" defTabSz="914400">
              <a:buFont typeface="Wingdings" panose="05000000000000000000" pitchFamily="2" charset="2"/>
              <a:buChar char="q"/>
            </a:pPr>
            <a:r>
              <a:rPr lang="fr-FR" sz="1300" dirty="0">
                <a:solidFill>
                  <a:srgbClr val="64676E"/>
                </a:solidFill>
              </a:rPr>
              <a:t>Amélioration de la navigation pour les contrats en « Gestion Horizon »</a:t>
            </a:r>
          </a:p>
          <a:p>
            <a:pPr defTabSz="914400"/>
            <a:endParaRPr lang="fr-FR" sz="1300" u="sng" dirty="0">
              <a:solidFill>
                <a:srgbClr val="64676E"/>
              </a:solidFill>
            </a:endParaRPr>
          </a:p>
          <a:p>
            <a:pPr defTabSz="914400"/>
            <a:endParaRPr lang="fr-FR" sz="1300" dirty="0">
              <a:solidFill>
                <a:srgbClr val="64676E"/>
              </a:solidFill>
            </a:endParaRPr>
          </a:p>
          <a:p>
            <a:pPr marL="228600" indent="-228600" defTabSz="914400">
              <a:buFont typeface="+mj-lt"/>
              <a:buAutoNum type="arabicPeriod" startAt="2"/>
            </a:pPr>
            <a:r>
              <a:rPr lang="fr-FR" sz="1300" b="1" dirty="0">
                <a:solidFill>
                  <a:srgbClr val="64676E"/>
                </a:solidFill>
              </a:rPr>
              <a:t>Améliorations de la synthèse de l’acte suite à un versement ou un </a:t>
            </a:r>
            <a:r>
              <a:rPr lang="fr-FR" sz="1300" b="1" dirty="0" smtClean="0">
                <a:solidFill>
                  <a:srgbClr val="64676E"/>
                </a:solidFill>
              </a:rPr>
              <a:t>arbitrage</a:t>
            </a:r>
          </a:p>
          <a:p>
            <a:pPr marL="0" lvl="1" defTabSz="914400"/>
            <a:r>
              <a:rPr lang="fr-FR" sz="1000" b="1" i="1" dirty="0">
                <a:solidFill>
                  <a:srgbClr val="0070C0"/>
                </a:solidFill>
                <a:sym typeface="Wingdings" panose="05000000000000000000" pitchFamily="2" charset="2"/>
              </a:rPr>
              <a:t> Cf. diapositive suivante pour le détail</a:t>
            </a:r>
            <a:endParaRPr lang="fr-FR" sz="1000" b="1" i="1" dirty="0">
              <a:solidFill>
                <a:srgbClr val="0070C0"/>
              </a:solidFill>
            </a:endParaRPr>
          </a:p>
          <a:p>
            <a:pPr defTabSz="914400"/>
            <a:endParaRPr lang="fr-FR" sz="1300" dirty="0">
              <a:solidFill>
                <a:srgbClr val="64676E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4668715" y="5697415"/>
            <a:ext cx="6348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b="1" i="1" dirty="0"/>
              <a:t>*Vous trouverez le détail des évolutions en annexe.</a:t>
            </a:r>
          </a:p>
        </p:txBody>
      </p:sp>
    </p:spTree>
    <p:extLst>
      <p:ext uri="{BB962C8B-B14F-4D97-AF65-F5344CB8AC3E}">
        <p14:creationId xmlns:p14="http://schemas.microsoft.com/office/powerpoint/2010/main" val="3433677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-1612069" y="6180063"/>
            <a:ext cx="542571" cy="365125"/>
          </a:xfrm>
        </p:spPr>
        <p:txBody>
          <a:bodyPr/>
          <a:lstStyle/>
          <a:p>
            <a:fld id="{F58D08CA-ACAF-49A8-BABE-4530045D46EE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123D6B-C94F-4368-89FE-51095D3AD584}" type="datetime1">
              <a:rPr lang="fr-FR" smtClean="0"/>
              <a:t>15/03/2023</a:t>
            </a:fld>
            <a:endParaRPr lang="fr-FR" dirty="0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xmlns="" id="{5561DBA6-C59E-8E40-9A6E-DA34E9ACD520}"/>
              </a:ext>
            </a:extLst>
          </p:cNvPr>
          <p:cNvSpPr txBox="1">
            <a:spLocks/>
          </p:cNvSpPr>
          <p:nvPr/>
        </p:nvSpPr>
        <p:spPr>
          <a:xfrm>
            <a:off x="896389" y="251012"/>
            <a:ext cx="10954952" cy="1041724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z="2400" dirty="0" smtClean="0">
                <a:solidFill>
                  <a:schemeClr val="accent1"/>
                </a:solidFill>
              </a:rPr>
              <a:t>Zoom sur </a:t>
            </a:r>
            <a:r>
              <a:rPr lang="fr-FR" sz="2400" dirty="0">
                <a:solidFill>
                  <a:schemeClr val="accent1"/>
                </a:solidFill>
              </a:rPr>
              <a:t>les améliorations de la synthèse de l’acte suite à un versement ou un arbitrage</a:t>
            </a:r>
          </a:p>
          <a:p>
            <a:endParaRPr lang="fr-FR" sz="2400" i="1" u="sng" dirty="0">
              <a:solidFill>
                <a:schemeClr val="accent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420363" y="1364454"/>
            <a:ext cx="99418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i="1" dirty="0" smtClean="0"/>
              <a:t>AVANT</a:t>
            </a:r>
            <a:endParaRPr lang="fr-FR" b="1" i="1" dirty="0"/>
          </a:p>
        </p:txBody>
      </p:sp>
      <p:sp>
        <p:nvSpPr>
          <p:cNvPr id="25" name="ZoneTexte 24"/>
          <p:cNvSpPr txBox="1"/>
          <p:nvPr/>
        </p:nvSpPr>
        <p:spPr>
          <a:xfrm>
            <a:off x="8185931" y="1386397"/>
            <a:ext cx="93006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i="1" dirty="0" smtClean="0"/>
              <a:t>APRES</a:t>
            </a:r>
            <a:endParaRPr lang="fr-FR" b="1" i="1" dirty="0"/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899" y="1827414"/>
            <a:ext cx="5864132" cy="4106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305" y="1824681"/>
            <a:ext cx="5432856" cy="4850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èche droite 1"/>
          <p:cNvSpPr/>
          <p:nvPr/>
        </p:nvSpPr>
        <p:spPr>
          <a:xfrm>
            <a:off x="3728720" y="1516174"/>
            <a:ext cx="4287520" cy="192361"/>
          </a:xfrm>
          <a:prstGeom prst="rightArrow">
            <a:avLst/>
          </a:pr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217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8D08CA-ACAF-49A8-BABE-4530045D46EE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123D6B-C94F-4368-89FE-51095D3AD584}" type="datetime1">
              <a:rPr lang="fr-FR" smtClean="0"/>
              <a:t>15/03/2023</a:t>
            </a:fld>
            <a:endParaRPr lang="fr-FR" dirty="0"/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877146" y="342672"/>
            <a:ext cx="10481202" cy="585788"/>
          </a:xfrm>
          <a:prstGeom prst="rect">
            <a:avLst/>
          </a:prstGeom>
        </p:spPr>
        <p:txBody>
          <a:bodyPr/>
          <a:lstStyle>
            <a:lvl1pPr algn="l" defTabSz="9142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400" b="1" dirty="0" smtClean="0">
                <a:solidFill>
                  <a:schemeClr val="accent1"/>
                </a:solidFill>
                <a:latin typeface="Segoe UI" panose="020B0502040204020203" pitchFamily="34" charset="0"/>
              </a:rPr>
              <a:t>Parcours clients – </a:t>
            </a:r>
            <a:r>
              <a:rPr lang="fr-FR" sz="2400" b="1" dirty="0">
                <a:solidFill>
                  <a:schemeClr val="accent1"/>
                </a:solidFill>
                <a:latin typeface="Segoe UI" panose="020B0502040204020203" pitchFamily="34" charset="0"/>
              </a:rPr>
              <a:t>simulateurs </a:t>
            </a:r>
          </a:p>
        </p:txBody>
      </p:sp>
      <p:sp>
        <p:nvSpPr>
          <p:cNvPr id="40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800248" y="6216649"/>
            <a:ext cx="9467083" cy="365125"/>
          </a:xfrm>
        </p:spPr>
        <p:txBody>
          <a:bodyPr/>
          <a:lstStyle/>
          <a:p>
            <a:r>
              <a:rPr lang="fr-FR" dirty="0" smtClean="0">
                <a:solidFill>
                  <a:srgbClr val="5B6971"/>
                </a:solidFill>
              </a:rPr>
              <a:t> DAV / Projet </a:t>
            </a:r>
            <a:r>
              <a:rPr lang="fr-FR" dirty="0" err="1" smtClean="0">
                <a:solidFill>
                  <a:srgbClr val="5B6971"/>
                </a:solidFill>
              </a:rPr>
              <a:t>Selfcare</a:t>
            </a:r>
            <a:r>
              <a:rPr lang="fr-FR" dirty="0" smtClean="0">
                <a:solidFill>
                  <a:srgbClr val="5B6971"/>
                </a:solidFill>
              </a:rPr>
              <a:t> Vie</a:t>
            </a:r>
            <a:endParaRPr lang="fr-FR" dirty="0">
              <a:solidFill>
                <a:srgbClr val="5B697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03171" y="4220308"/>
            <a:ext cx="1164483" cy="237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/>
        </p:nvSpPr>
        <p:spPr>
          <a:xfrm>
            <a:off x="7561383" y="4016849"/>
            <a:ext cx="1310053" cy="229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/>
          <p:cNvGrpSpPr/>
          <p:nvPr/>
        </p:nvGrpSpPr>
        <p:grpSpPr>
          <a:xfrm>
            <a:off x="1530855" y="1228204"/>
            <a:ext cx="9173784" cy="4635642"/>
            <a:chOff x="1530855" y="1228204"/>
            <a:chExt cx="9173784" cy="4635642"/>
          </a:xfrm>
        </p:grpSpPr>
        <p:grpSp>
          <p:nvGrpSpPr>
            <p:cNvPr id="3" name="Groupe 2"/>
            <p:cNvGrpSpPr/>
            <p:nvPr/>
          </p:nvGrpSpPr>
          <p:grpSpPr>
            <a:xfrm>
              <a:off x="1530855" y="1228204"/>
              <a:ext cx="9173784" cy="4635642"/>
              <a:chOff x="636967" y="1228204"/>
              <a:chExt cx="9173784" cy="4635642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16" t="334" r="18307" b="51428"/>
              <a:stretch/>
            </p:blipFill>
            <p:spPr bwMode="auto">
              <a:xfrm>
                <a:off x="4972050" y="1228204"/>
                <a:ext cx="4838701" cy="20864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/>
            </p:spPr>
          </p:pic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6630"/>
              <a:stretch/>
            </p:blipFill>
            <p:spPr bwMode="auto">
              <a:xfrm>
                <a:off x="636967" y="1538454"/>
                <a:ext cx="4544633" cy="43253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602" t="45690"/>
              <a:stretch/>
            </p:blipFill>
            <p:spPr bwMode="auto">
              <a:xfrm>
                <a:off x="5181600" y="3514725"/>
                <a:ext cx="3080484" cy="23491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Rectangle 1"/>
              <p:cNvSpPr/>
              <p:nvPr/>
            </p:nvSpPr>
            <p:spPr>
              <a:xfrm>
                <a:off x="4972050" y="2057400"/>
                <a:ext cx="733425" cy="9239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pic>
          <p:nvPicPr>
            <p:cNvPr id="14" name="Picture 3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945" t="55904" r="56630" b="38202"/>
            <a:stretch/>
          </p:blipFill>
          <p:spPr bwMode="auto">
            <a:xfrm>
              <a:off x="7570175" y="3982914"/>
              <a:ext cx="1406773" cy="2549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9340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heme/theme1.xml><?xml version="1.0" encoding="utf-8"?>
<a:theme xmlns:a="http://schemas.openxmlformats.org/drawingml/2006/main" name="Gabarit COVEA  STANDARD 30 11 2020">
  <a:themeElements>
    <a:clrScheme name="COVEA">
      <a:dk1>
        <a:sysClr val="windowText" lastClr="000000"/>
      </a:dk1>
      <a:lt1>
        <a:sysClr val="window" lastClr="FFFFFF"/>
      </a:lt1>
      <a:dk2>
        <a:srgbClr val="546971"/>
      </a:dk2>
      <a:lt2>
        <a:srgbClr val="FA9370"/>
      </a:lt2>
      <a:accent1>
        <a:srgbClr val="1F4471"/>
      </a:accent1>
      <a:accent2>
        <a:srgbClr val="406CA9"/>
      </a:accent2>
      <a:accent3>
        <a:srgbClr val="597F6D"/>
      </a:accent3>
      <a:accent4>
        <a:srgbClr val="B8131E"/>
      </a:accent4>
      <a:accent5>
        <a:srgbClr val="F09A00"/>
      </a:accent5>
      <a:accent6>
        <a:srgbClr val="8F7332"/>
      </a:accent6>
      <a:hlink>
        <a:srgbClr val="546971"/>
      </a:hlink>
      <a:folHlink>
        <a:srgbClr val="B8131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Gabarit COVEA  STANDARD 30 11 2020.potm" id="{C6D40462-BF77-4A68-96F5-3EA6A7C789BF}" vid="{532F2637-A4DB-483D-9D1A-DA0B9030A45F}"/>
    </a:ext>
  </a:extLst>
</a:theme>
</file>

<file path=ppt/theme/theme2.xml><?xml version="1.0" encoding="utf-8"?>
<a:theme xmlns:a="http://schemas.openxmlformats.org/drawingml/2006/main" name="modele_ppt_covea_4_3_vok">
  <a:themeElements>
    <a:clrScheme name="COVEA TEMPLAT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B7DCE1"/>
      </a:accent2>
      <a:accent3>
        <a:srgbClr val="AE935C"/>
      </a:accent3>
      <a:accent4>
        <a:srgbClr val="B6DBD3"/>
      </a:accent4>
      <a:accent5>
        <a:srgbClr val="4BACC6"/>
      </a:accent5>
      <a:accent6>
        <a:srgbClr val="F3D0B2"/>
      </a:accent6>
      <a:hlink>
        <a:srgbClr val="29353C"/>
      </a:hlink>
      <a:folHlink>
        <a:srgbClr val="29353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dele_ppt_covea_4_3_vok">
  <a:themeElements>
    <a:clrScheme name="COVEA TEMPLAT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B7DCE1"/>
      </a:accent2>
      <a:accent3>
        <a:srgbClr val="AE935C"/>
      </a:accent3>
      <a:accent4>
        <a:srgbClr val="B6DBD3"/>
      </a:accent4>
      <a:accent5>
        <a:srgbClr val="4BACC6"/>
      </a:accent5>
      <a:accent6>
        <a:srgbClr val="F3D0B2"/>
      </a:accent6>
      <a:hlink>
        <a:srgbClr val="29353C"/>
      </a:hlink>
      <a:folHlink>
        <a:srgbClr val="29353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modele_ppt_covea_4_3_vok">
  <a:themeElements>
    <a:clrScheme name="COVEA TEMPLAT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B7DCE1"/>
      </a:accent2>
      <a:accent3>
        <a:srgbClr val="AE935C"/>
      </a:accent3>
      <a:accent4>
        <a:srgbClr val="B6DBD3"/>
      </a:accent4>
      <a:accent5>
        <a:srgbClr val="4BACC6"/>
      </a:accent5>
      <a:accent6>
        <a:srgbClr val="F3D0B2"/>
      </a:accent6>
      <a:hlink>
        <a:srgbClr val="29353C"/>
      </a:hlink>
      <a:folHlink>
        <a:srgbClr val="29353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Base">
  <a:themeElements>
    <a:clrScheme name="Personnalisé 17">
      <a:dk1>
        <a:sysClr val="windowText" lastClr="000000"/>
      </a:dk1>
      <a:lt1>
        <a:sysClr val="window" lastClr="FFFFFF"/>
      </a:lt1>
      <a:dk2>
        <a:srgbClr val="5B6971"/>
      </a:dk2>
      <a:lt2>
        <a:srgbClr val="8F7332"/>
      </a:lt2>
      <a:accent1>
        <a:srgbClr val="1C244F"/>
      </a:accent1>
      <a:accent2>
        <a:srgbClr val="597F6D"/>
      </a:accent2>
      <a:accent3>
        <a:srgbClr val="B8131E"/>
      </a:accent3>
      <a:accent4>
        <a:srgbClr val="FA9370"/>
      </a:accent4>
      <a:accent5>
        <a:srgbClr val="F09A00"/>
      </a:accent5>
      <a:accent6>
        <a:srgbClr val="FFDA00"/>
      </a:accent6>
      <a:hlink>
        <a:srgbClr val="546971"/>
      </a:hlink>
      <a:folHlink>
        <a:srgbClr val="B8131E"/>
      </a:folHlink>
    </a:clrScheme>
    <a:fontScheme name="Personnalisé 1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54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ase" id="{E28EC742-D884-4644-82C7-D26E7954E1D0}" vid="{903360B0-01E5-4C96-A53F-7F54C27B1181}"/>
    </a:ext>
  </a:extLst>
</a:theme>
</file>

<file path=ppt/theme/theme6.xml><?xml version="1.0" encoding="utf-8"?>
<a:theme xmlns:a="http://schemas.openxmlformats.org/drawingml/2006/main" name="1_Base">
  <a:themeElements>
    <a:clrScheme name="Personnalisé 17">
      <a:dk1>
        <a:sysClr val="windowText" lastClr="000000"/>
      </a:dk1>
      <a:lt1>
        <a:sysClr val="window" lastClr="FFFFFF"/>
      </a:lt1>
      <a:dk2>
        <a:srgbClr val="5B6971"/>
      </a:dk2>
      <a:lt2>
        <a:srgbClr val="8F7332"/>
      </a:lt2>
      <a:accent1>
        <a:srgbClr val="1C244F"/>
      </a:accent1>
      <a:accent2>
        <a:srgbClr val="597F6D"/>
      </a:accent2>
      <a:accent3>
        <a:srgbClr val="B8131E"/>
      </a:accent3>
      <a:accent4>
        <a:srgbClr val="FA9370"/>
      </a:accent4>
      <a:accent5>
        <a:srgbClr val="F09A00"/>
      </a:accent5>
      <a:accent6>
        <a:srgbClr val="FFDA00"/>
      </a:accent6>
      <a:hlink>
        <a:srgbClr val="546971"/>
      </a:hlink>
      <a:folHlink>
        <a:srgbClr val="B8131E"/>
      </a:folHlink>
    </a:clrScheme>
    <a:fontScheme name="Personnalisé 1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54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ase" id="{E28EC742-D884-4644-82C7-D26E7954E1D0}" vid="{903360B0-01E5-4C96-A53F-7F54C27B1181}"/>
    </a:ext>
  </a:extLst>
</a:theme>
</file>

<file path=ppt/theme/theme7.xml><?xml version="1.0" encoding="utf-8"?>
<a:theme xmlns:a="http://schemas.openxmlformats.org/drawingml/2006/main" name="2_Base">
  <a:themeElements>
    <a:clrScheme name="Personnalisé 17">
      <a:dk1>
        <a:sysClr val="windowText" lastClr="000000"/>
      </a:dk1>
      <a:lt1>
        <a:sysClr val="window" lastClr="FFFFFF"/>
      </a:lt1>
      <a:dk2>
        <a:srgbClr val="5B6971"/>
      </a:dk2>
      <a:lt2>
        <a:srgbClr val="8F7332"/>
      </a:lt2>
      <a:accent1>
        <a:srgbClr val="1C244F"/>
      </a:accent1>
      <a:accent2>
        <a:srgbClr val="597F6D"/>
      </a:accent2>
      <a:accent3>
        <a:srgbClr val="B8131E"/>
      </a:accent3>
      <a:accent4>
        <a:srgbClr val="FA9370"/>
      </a:accent4>
      <a:accent5>
        <a:srgbClr val="F09A00"/>
      </a:accent5>
      <a:accent6>
        <a:srgbClr val="FFDA00"/>
      </a:accent6>
      <a:hlink>
        <a:srgbClr val="546971"/>
      </a:hlink>
      <a:folHlink>
        <a:srgbClr val="B8131E"/>
      </a:folHlink>
    </a:clrScheme>
    <a:fontScheme name="Personnalisé 12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5400000" scaled="1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Base" id="{E28EC742-D884-4644-82C7-D26E7954E1D0}" vid="{903360B0-01E5-4C96-A53F-7F54C27B1181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A398DE4E14AE4CA3653C5109AECF7F" ma:contentTypeVersion="13" ma:contentTypeDescription="Crée un document." ma:contentTypeScope="" ma:versionID="21fed55260b772ba797f477f92a228ce">
  <xsd:schema xmlns:xsd="http://www.w3.org/2001/XMLSchema" xmlns:xs="http://www.w3.org/2001/XMLSchema" xmlns:p="http://schemas.microsoft.com/office/2006/metadata/properties" xmlns:ns2="d5f19a33-3b89-4007-8041-4479678c243f" xmlns:ns3="abdef0fd-17dd-4302-baed-5d9845603126" targetNamespace="http://schemas.microsoft.com/office/2006/metadata/properties" ma:root="true" ma:fieldsID="64be3b3a197c3d6378dbbb836c87fdc3" ns2:_="" ns3:_="">
    <xsd:import namespace="d5f19a33-3b89-4007-8041-4479678c243f"/>
    <xsd:import namespace="abdef0fd-17dd-4302-baed-5d98456031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f19a33-3b89-4007-8041-4479678c24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def0fd-17dd-4302-baed-5d984560312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6A3127-F54A-4A42-A679-1F0D2FF6D1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f19a33-3b89-4007-8041-4479678c243f"/>
    <ds:schemaRef ds:uri="abdef0fd-17dd-4302-baed-5d98456031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BA9BA0A-7F9E-4C09-995C-AA1D8C07536B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d5f19a33-3b89-4007-8041-4479678c243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abdef0fd-17dd-4302-baed-5d984560312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C10C632-CB06-4068-AB90-A19A42C0694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barit COVEA  STANDARD 30 11 2020</Template>
  <TotalTime>20673</TotalTime>
  <Words>1700</Words>
  <Application>Microsoft Office PowerPoint</Application>
  <PresentationFormat>Personnalisé</PresentationFormat>
  <Paragraphs>410</Paragraphs>
  <Slides>27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7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36" baseType="lpstr">
      <vt:lpstr>Gabarit COVEA  STANDARD 30 11 2020</vt:lpstr>
      <vt:lpstr>modele_ppt_covea_4_3_vok</vt:lpstr>
      <vt:lpstr>1_modele_ppt_covea_4_3_vok</vt:lpstr>
      <vt:lpstr>2_modele_ppt_covea_4_3_vok</vt:lpstr>
      <vt:lpstr>Base</vt:lpstr>
      <vt:lpstr>1_Base</vt:lpstr>
      <vt:lpstr>2_Base</vt:lpstr>
      <vt:lpstr>Diapositive think-cell</vt:lpstr>
      <vt:lpstr>think-cell Slide</vt:lpstr>
      <vt:lpstr>Projet Selfcare Vie   Focus MMA</vt:lpstr>
      <vt:lpstr>Ce document a pour objectif de vous présenter le périmètre fonctionnel Selfcare mis en production. </vt:lpstr>
      <vt:lpstr>Sommaire</vt:lpstr>
      <vt:lpstr>Trajectoire projet</vt:lpstr>
      <vt:lpstr>Présentation PowerPoint</vt:lpstr>
      <vt:lpstr>Fonctionnalités déployées en mars 2023</vt:lpstr>
      <vt:lpstr>Présentation PowerPoint</vt:lpstr>
      <vt:lpstr>Présentation PowerPoint</vt:lpstr>
      <vt:lpstr>Présentation PowerPoint</vt:lpstr>
      <vt:lpstr>Présentation PowerPoint</vt:lpstr>
      <vt:lpstr>Espace Client Vie – Rubrique Actualité Vie  Publications du T1 2023</vt:lpstr>
      <vt:lpstr>Actualité Vie – Publications du T1 2023</vt:lpstr>
      <vt:lpstr>Pilotage : suivi des résultats </vt:lpstr>
      <vt:lpstr>Présentation PowerPoint</vt:lpstr>
      <vt:lpstr>Présentation PowerPoint</vt:lpstr>
      <vt:lpstr>Présentation PowerPoint</vt:lpstr>
      <vt:lpstr>Les parcours en vidéo</vt:lpstr>
      <vt:lpstr>Présentation PowerPoint</vt:lpstr>
      <vt:lpstr>Présentation PowerPoint</vt:lpstr>
      <vt:lpstr>Annexes</vt:lpstr>
      <vt:lpstr>Présentation PowerPoint</vt:lpstr>
      <vt:lpstr>Présentation PowerPoint</vt:lpstr>
      <vt:lpstr>Présentation PowerPoint</vt:lpstr>
      <vt:lpstr>Rappel du détail des fonctionnalités mises en production depuis le lancement du projet </vt:lpstr>
      <vt:lpstr>Présentation PowerPoint</vt:lpstr>
      <vt:lpstr>Présentation PowerPoint</vt:lpstr>
      <vt:lpstr>Présentation PowerPoint</vt:lpstr>
    </vt:vector>
  </TitlesOfParts>
  <Company>COVE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ie-Sophie BERNASCONI</dc:creator>
  <cp:lastModifiedBy>A71874</cp:lastModifiedBy>
  <cp:revision>932</cp:revision>
  <dcterms:created xsi:type="dcterms:W3CDTF">2020-12-09T17:03:16Z</dcterms:created>
  <dcterms:modified xsi:type="dcterms:W3CDTF">2023-03-15T10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A398DE4E14AE4CA3653C5109AECF7F</vt:lpwstr>
  </property>
</Properties>
</file>